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2" r:id="rId5"/>
  </p:sldMasterIdLst>
  <p:notesMasterIdLst>
    <p:notesMasterId r:id="rId15"/>
  </p:notesMasterIdLst>
  <p:sldIdLst>
    <p:sldId id="1957" r:id="rId6"/>
    <p:sldId id="10178" r:id="rId7"/>
    <p:sldId id="10179" r:id="rId8"/>
    <p:sldId id="10180" r:id="rId9"/>
    <p:sldId id="10181" r:id="rId10"/>
    <p:sldId id="10182" r:id="rId11"/>
    <p:sldId id="10183" r:id="rId12"/>
    <p:sldId id="10184" r:id="rId13"/>
    <p:sldId id="362" r:id="rId14"/>
  </p:sldIdLst>
  <p:sldSz cx="14630400" cy="8229600"/>
  <p:notesSz cx="6858000" cy="9144000"/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4" userDrawn="1">
          <p15:clr>
            <a:srgbClr val="A4A3A4"/>
          </p15:clr>
        </p15:guide>
        <p15:guide id="7" pos="2232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12" pos="9192" userDrawn="1">
          <p15:clr>
            <a:srgbClr val="A4A3A4"/>
          </p15:clr>
        </p15:guide>
        <p15:guide id="21" pos="8760" userDrawn="1">
          <p15:clr>
            <a:srgbClr val="A4A3A4"/>
          </p15:clr>
        </p15:guide>
        <p15:guide id="27" pos="5544" userDrawn="1">
          <p15:clr>
            <a:srgbClr val="A4A3A4"/>
          </p15:clr>
        </p15:guide>
        <p15:guide id="28" orient="horz" pos="4848" userDrawn="1">
          <p15:clr>
            <a:srgbClr val="A4A3A4"/>
          </p15:clr>
        </p15:guide>
        <p15:guide id="29" orient="horz" pos="384" userDrawn="1">
          <p15:clr>
            <a:srgbClr val="A4A3A4"/>
          </p15:clr>
        </p15:guide>
        <p15:guide id="32" orient="horz" pos="1008" userDrawn="1">
          <p15:clr>
            <a:srgbClr val="A4A3A4"/>
          </p15:clr>
        </p15:guide>
        <p15:guide id="33" orient="horz" pos="912" userDrawn="1">
          <p15:clr>
            <a:srgbClr val="A4A3A4"/>
          </p15:clr>
        </p15:guide>
        <p15:guide id="34" orient="horz" pos="4536" userDrawn="1">
          <p15:clr>
            <a:srgbClr val="A4A3A4"/>
          </p15:clr>
        </p15:guide>
        <p15:guide id="35" orient="horz" pos="1272" userDrawn="1">
          <p15:clr>
            <a:srgbClr val="A4A3A4"/>
          </p15:clr>
        </p15:guide>
        <p15:guide id="36" pos="432" userDrawn="1">
          <p15:clr>
            <a:srgbClr val="A4A3A4"/>
          </p15:clr>
        </p15:guide>
        <p15:guide id="37" pos="5640" userDrawn="1">
          <p15:clr>
            <a:srgbClr val="A4A3A4"/>
          </p15:clr>
        </p15:guide>
        <p15:guide id="38" pos="405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4CC8EE-6C67-1AB2-358B-C07BB8BB2CBF}" name="Jen Gaudette" initials="JG" userId="S::v-jegau@microsoft.com::24196024-79c4-4cea-8e59-135f40d52e4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glas Montague" initials="DM" lastIdx="13" clrIdx="0"/>
  <p:cmAuthor id="2" name="Jason Gold" initials="JG" lastIdx="12" clrIdx="1"/>
  <p:cmAuthor id="3" name="Tracie Westby" initials="TW" lastIdx="13" clrIdx="2"/>
  <p:cmAuthor id="4" name="Douglas Montague" initials="DM [2]" lastIdx="13" clrIdx="3"/>
  <p:cmAuthor id="5" name="Jennifer League (Projectline Services)" initials="JL(S" lastIdx="40" clrIdx="4"/>
  <p:cmAuthor id="6" name="Claire Delaney (PROJECTLINE SERVICES INC)" initials="CD(SI" lastIdx="8" clrIdx="5">
    <p:extLst>
      <p:ext uri="{19B8F6BF-5375-455C-9EA6-DF929625EA0E}">
        <p15:presenceInfo xmlns:p15="http://schemas.microsoft.com/office/powerpoint/2012/main" userId="S::v-clde@microsoft.com::8ec82360-678d-47cf-848e-1c6a4a848c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2"/>
    <a:srgbClr val="0079D8"/>
    <a:srgbClr val="0078D4"/>
    <a:srgbClr val="EBEBEB"/>
    <a:srgbClr val="9BEF07"/>
    <a:srgbClr val="75757A"/>
    <a:srgbClr val="000000"/>
    <a:srgbClr val="50E6FF"/>
    <a:srgbClr val="DA4026"/>
    <a:srgbClr val="E7E9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3" autoAdjust="0"/>
    <p:restoredTop sz="94923"/>
  </p:normalViewPr>
  <p:slideViewPr>
    <p:cSldViewPr snapToGrid="0">
      <p:cViewPr varScale="1">
        <p:scale>
          <a:sx n="68" d="100"/>
          <a:sy n="68" d="100"/>
        </p:scale>
        <p:origin x="821" y="62"/>
      </p:cViewPr>
      <p:guideLst>
        <p:guide orient="horz" pos="2664"/>
        <p:guide pos="2232"/>
        <p:guide pos="2592"/>
        <p:guide pos="9192"/>
        <p:guide pos="8760"/>
        <p:guide pos="5544"/>
        <p:guide orient="horz" pos="4848"/>
        <p:guide orient="horz" pos="384"/>
        <p:guide orient="horz" pos="1008"/>
        <p:guide orient="horz" pos="912"/>
        <p:guide orient="horz" pos="4536"/>
        <p:guide orient="horz" pos="1272"/>
        <p:guide pos="432"/>
        <p:guide pos="5640"/>
        <p:guide pos="40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7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o Minerva" userId="4af1190e2b3b463e" providerId="LiveId" clId="{545836FB-A438-4469-8CCF-94ECFE526787}"/>
    <pc:docChg chg="undo custSel addSld delSld modSld">
      <pc:chgData name="Marco Minerva" userId="4af1190e2b3b463e" providerId="LiveId" clId="{545836FB-A438-4469-8CCF-94ECFE526787}" dt="2020-03-19T11:31:26.537" v="247" actId="1076"/>
      <pc:docMkLst>
        <pc:docMk/>
      </pc:docMkLst>
      <pc:sldChg chg="del">
        <pc:chgData name="Marco Minerva" userId="4af1190e2b3b463e" providerId="LiveId" clId="{545836FB-A438-4469-8CCF-94ECFE526787}" dt="2020-03-18T13:36:02.940" v="29" actId="47"/>
        <pc:sldMkLst>
          <pc:docMk/>
          <pc:sldMk cId="1961614461" sldId="329"/>
        </pc:sldMkLst>
      </pc:sldChg>
      <pc:sldChg chg="addSp delSp modSp">
        <pc:chgData name="Marco Minerva" userId="4af1190e2b3b463e" providerId="LiveId" clId="{545836FB-A438-4469-8CCF-94ECFE526787}" dt="2020-03-19T10:19:19.006" v="214" actId="478"/>
        <pc:sldMkLst>
          <pc:docMk/>
          <pc:sldMk cId="3146492134" sldId="362"/>
        </pc:sldMkLst>
        <pc:spChg chg="del">
          <ac:chgData name="Marco Minerva" userId="4af1190e2b3b463e" providerId="LiveId" clId="{545836FB-A438-4469-8CCF-94ECFE526787}" dt="2020-03-19T10:19:19.006" v="214" actId="478"/>
          <ac:spMkLst>
            <pc:docMk/>
            <pc:sldMk cId="3146492134" sldId="362"/>
            <ac:spMk id="6" creationId="{C30E594C-C5DE-D549-A956-83707FACAE4B}"/>
          </ac:spMkLst>
        </pc:spChg>
        <pc:spChg chg="add mod">
          <ac:chgData name="Marco Minerva" userId="4af1190e2b3b463e" providerId="LiveId" clId="{545836FB-A438-4469-8CCF-94ECFE526787}" dt="2020-03-19T09:05:31.618" v="213" actId="20577"/>
          <ac:spMkLst>
            <pc:docMk/>
            <pc:sldMk cId="3146492134" sldId="362"/>
            <ac:spMk id="8" creationId="{20C02B52-4614-4448-8BBD-DCA8A87F1F56}"/>
          </ac:spMkLst>
        </pc:spChg>
        <pc:picChg chg="add mod">
          <ac:chgData name="Marco Minerva" userId="4af1190e2b3b463e" providerId="LiveId" clId="{545836FB-A438-4469-8CCF-94ECFE526787}" dt="2020-03-18T13:41:24.338" v="211" actId="1076"/>
          <ac:picMkLst>
            <pc:docMk/>
            <pc:sldMk cId="3146492134" sldId="362"/>
            <ac:picMk id="9" creationId="{AA8DBEBE-16CE-4BD0-9A93-D2B4583E6792}"/>
          </ac:picMkLst>
        </pc:picChg>
      </pc:sldChg>
      <pc:sldChg chg="del">
        <pc:chgData name="Marco Minerva" userId="4af1190e2b3b463e" providerId="LiveId" clId="{545836FB-A438-4469-8CCF-94ECFE526787}" dt="2020-03-18T13:36:03.956" v="31" actId="47"/>
        <pc:sldMkLst>
          <pc:docMk/>
          <pc:sldMk cId="1123391840" sldId="436"/>
        </pc:sldMkLst>
      </pc:sldChg>
      <pc:sldChg chg="del">
        <pc:chgData name="Marco Minerva" userId="4af1190e2b3b463e" providerId="LiveId" clId="{545836FB-A438-4469-8CCF-94ECFE526787}" dt="2020-03-18T13:34:18.579" v="14" actId="47"/>
        <pc:sldMkLst>
          <pc:docMk/>
          <pc:sldMk cId="1080044175" sldId="456"/>
        </pc:sldMkLst>
      </pc:sldChg>
      <pc:sldChg chg="del">
        <pc:chgData name="Marco Minerva" userId="4af1190e2b3b463e" providerId="LiveId" clId="{545836FB-A438-4469-8CCF-94ECFE526787}" dt="2020-03-18T13:36:04.908" v="33" actId="47"/>
        <pc:sldMkLst>
          <pc:docMk/>
          <pc:sldMk cId="2701453485" sldId="467"/>
        </pc:sldMkLst>
      </pc:sldChg>
      <pc:sldChg chg="del">
        <pc:chgData name="Marco Minerva" userId="4af1190e2b3b463e" providerId="LiveId" clId="{545836FB-A438-4469-8CCF-94ECFE526787}" dt="2020-03-18T13:36:06.673" v="34" actId="47"/>
        <pc:sldMkLst>
          <pc:docMk/>
          <pc:sldMk cId="198091354" sldId="1951"/>
        </pc:sldMkLst>
      </pc:sldChg>
      <pc:sldChg chg="del">
        <pc:chgData name="Marco Minerva" userId="4af1190e2b3b463e" providerId="LiveId" clId="{545836FB-A438-4469-8CCF-94ECFE526787}" dt="2020-03-18T13:36:03.467" v="30" actId="47"/>
        <pc:sldMkLst>
          <pc:docMk/>
          <pc:sldMk cId="515481710" sldId="1954"/>
        </pc:sldMkLst>
      </pc:sldChg>
      <pc:sldChg chg="del">
        <pc:chgData name="Marco Minerva" userId="4af1190e2b3b463e" providerId="LiveId" clId="{545836FB-A438-4469-8CCF-94ECFE526787}" dt="2020-03-18T13:36:04.377" v="32" actId="47"/>
        <pc:sldMkLst>
          <pc:docMk/>
          <pc:sldMk cId="3183993208" sldId="1956"/>
        </pc:sldMkLst>
      </pc:sldChg>
      <pc:sldChg chg="addSp modSp add">
        <pc:chgData name="Marco Minerva" userId="4af1190e2b3b463e" providerId="LiveId" clId="{545836FB-A438-4469-8CCF-94ECFE526787}" dt="2020-03-18T13:34:08.857" v="13" actId="1035"/>
        <pc:sldMkLst>
          <pc:docMk/>
          <pc:sldMk cId="1290177698" sldId="1957"/>
        </pc:sldMkLst>
        <pc:spChg chg="mod">
          <ac:chgData name="Marco Minerva" userId="4af1190e2b3b463e" providerId="LiveId" clId="{545836FB-A438-4469-8CCF-94ECFE526787}" dt="2020-03-18T13:34:04.184" v="8" actId="14100"/>
          <ac:spMkLst>
            <pc:docMk/>
            <pc:sldMk cId="1290177698" sldId="1957"/>
            <ac:spMk id="2" creationId="{A566AC62-BA36-48FA-B116-E7217B52C50B}"/>
          </ac:spMkLst>
        </pc:spChg>
        <pc:spChg chg="mod">
          <ac:chgData name="Marco Minerva" userId="4af1190e2b3b463e" providerId="LiveId" clId="{545836FB-A438-4469-8CCF-94ECFE526787}" dt="2020-03-18T13:33:37.291" v="2"/>
          <ac:spMkLst>
            <pc:docMk/>
            <pc:sldMk cId="1290177698" sldId="1957"/>
            <ac:spMk id="3" creationId="{269E3835-D53C-4C05-8731-D16BE56F955C}"/>
          </ac:spMkLst>
        </pc:spChg>
        <pc:picChg chg="add mod">
          <ac:chgData name="Marco Minerva" userId="4af1190e2b3b463e" providerId="LiveId" clId="{545836FB-A438-4469-8CCF-94ECFE526787}" dt="2020-03-18T13:34:08.857" v="13" actId="1035"/>
          <ac:picMkLst>
            <pc:docMk/>
            <pc:sldMk cId="1290177698" sldId="1957"/>
            <ac:picMk id="4" creationId="{1C466F9E-761A-47ED-921E-9A444DF0165A}"/>
          </ac:picMkLst>
        </pc:picChg>
      </pc:sldChg>
      <pc:sldChg chg="add">
        <pc:chgData name="Marco Minerva" userId="4af1190e2b3b463e" providerId="LiveId" clId="{545836FB-A438-4469-8CCF-94ECFE526787}" dt="2020-03-18T13:34:21.174" v="15"/>
        <pc:sldMkLst>
          <pc:docMk/>
          <pc:sldMk cId="2262534760" sldId="10178"/>
        </pc:sldMkLst>
      </pc:sldChg>
      <pc:sldChg chg="modSp add modAnim">
        <pc:chgData name="Marco Minerva" userId="4af1190e2b3b463e" providerId="LiveId" clId="{545836FB-A438-4469-8CCF-94ECFE526787}" dt="2020-03-19T11:11:59.279" v="222"/>
        <pc:sldMkLst>
          <pc:docMk/>
          <pc:sldMk cId="296213872" sldId="10179"/>
        </pc:sldMkLst>
        <pc:spChg chg="mod">
          <ac:chgData name="Marco Minerva" userId="4af1190e2b3b463e" providerId="LiveId" clId="{545836FB-A438-4469-8CCF-94ECFE526787}" dt="2020-03-19T11:09:09.173" v="221" actId="20577"/>
          <ac:spMkLst>
            <pc:docMk/>
            <pc:sldMk cId="296213872" sldId="10179"/>
            <ac:spMk id="2" creationId="{2BC61947-F2AF-4DDD-8FC9-B4792C3BD21F}"/>
          </ac:spMkLst>
        </pc:spChg>
        <pc:spChg chg="mod">
          <ac:chgData name="Marco Minerva" userId="4af1190e2b3b463e" providerId="LiveId" clId="{545836FB-A438-4469-8CCF-94ECFE526787}" dt="2020-03-18T13:34:42.018" v="17"/>
          <ac:spMkLst>
            <pc:docMk/>
            <pc:sldMk cId="296213872" sldId="10179"/>
            <ac:spMk id="3" creationId="{704D0F4A-8E9E-400D-89F6-69E977833FBC}"/>
          </ac:spMkLst>
        </pc:spChg>
      </pc:sldChg>
      <pc:sldChg chg="addSp delSp modSp add modAnim">
        <pc:chgData name="Marco Minerva" userId="4af1190e2b3b463e" providerId="LiveId" clId="{545836FB-A438-4469-8CCF-94ECFE526787}" dt="2020-03-19T10:24:45.814" v="216" actId="20577"/>
        <pc:sldMkLst>
          <pc:docMk/>
          <pc:sldMk cId="1264343645" sldId="10180"/>
        </pc:sldMkLst>
        <pc:spChg chg="mod">
          <ac:chgData name="Marco Minerva" userId="4af1190e2b3b463e" providerId="LiveId" clId="{545836FB-A438-4469-8CCF-94ECFE526787}" dt="2020-03-19T10:24:45.814" v="216" actId="20577"/>
          <ac:spMkLst>
            <pc:docMk/>
            <pc:sldMk cId="1264343645" sldId="10180"/>
            <ac:spMk id="2" creationId="{71FE973A-7CD4-4555-A54A-C86BBCD251FB}"/>
          </ac:spMkLst>
        </pc:spChg>
        <pc:spChg chg="mod">
          <ac:chgData name="Marco Minerva" userId="4af1190e2b3b463e" providerId="LiveId" clId="{545836FB-A438-4469-8CCF-94ECFE526787}" dt="2020-03-18T13:36:22.618" v="64" actId="20577"/>
          <ac:spMkLst>
            <pc:docMk/>
            <pc:sldMk cId="1264343645" sldId="10180"/>
            <ac:spMk id="3" creationId="{EE7DC06E-FC5A-434D-9AD5-420F43DC84A4}"/>
          </ac:spMkLst>
        </pc:spChg>
        <pc:picChg chg="add del mod">
          <ac:chgData name="Marco Minerva" userId="4af1190e2b3b463e" providerId="LiveId" clId="{545836FB-A438-4469-8CCF-94ECFE526787}" dt="2020-03-18T13:36:49.621" v="74"/>
          <ac:picMkLst>
            <pc:docMk/>
            <pc:sldMk cId="1264343645" sldId="10180"/>
            <ac:picMk id="4" creationId="{4A572915-4829-4AC4-AF9A-5AB2C955C5B4}"/>
          </ac:picMkLst>
        </pc:picChg>
        <pc:picChg chg="add mod">
          <ac:chgData name="Marco Minerva" userId="4af1190e2b3b463e" providerId="LiveId" clId="{545836FB-A438-4469-8CCF-94ECFE526787}" dt="2020-03-18T13:37:14.745" v="95" actId="1076"/>
          <ac:picMkLst>
            <pc:docMk/>
            <pc:sldMk cId="1264343645" sldId="10180"/>
            <ac:picMk id="5" creationId="{4CEC7995-82C1-4A38-BC34-1C25DFC982EA}"/>
          </ac:picMkLst>
        </pc:picChg>
      </pc:sldChg>
      <pc:sldChg chg="add del">
        <pc:chgData name="Marco Minerva" userId="4af1190e2b3b463e" providerId="LiveId" clId="{545836FB-A438-4469-8CCF-94ECFE526787}" dt="2020-03-18T13:35:49.637" v="28" actId="47"/>
        <pc:sldMkLst>
          <pc:docMk/>
          <pc:sldMk cId="4103775880" sldId="10180"/>
        </pc:sldMkLst>
      </pc:sldChg>
      <pc:sldChg chg="modSp add">
        <pc:chgData name="Marco Minerva" userId="4af1190e2b3b463e" providerId="LiveId" clId="{545836FB-A438-4469-8CCF-94ECFE526787}" dt="2020-03-18T13:38:42.099" v="133" actId="20577"/>
        <pc:sldMkLst>
          <pc:docMk/>
          <pc:sldMk cId="970858448" sldId="10181"/>
        </pc:sldMkLst>
        <pc:spChg chg="mod">
          <ac:chgData name="Marco Minerva" userId="4af1190e2b3b463e" providerId="LiveId" clId="{545836FB-A438-4469-8CCF-94ECFE526787}" dt="2020-03-18T13:38:36.417" v="103" actId="20577"/>
          <ac:spMkLst>
            <pc:docMk/>
            <pc:sldMk cId="970858448" sldId="10181"/>
            <ac:spMk id="2" creationId="{F3B3D271-68E8-4D8C-BB74-D63FF336BA2B}"/>
          </ac:spMkLst>
        </pc:spChg>
        <pc:spChg chg="mod">
          <ac:chgData name="Marco Minerva" userId="4af1190e2b3b463e" providerId="LiveId" clId="{545836FB-A438-4469-8CCF-94ECFE526787}" dt="2020-03-18T13:38:42.099" v="133" actId="20577"/>
          <ac:spMkLst>
            <pc:docMk/>
            <pc:sldMk cId="970858448" sldId="10181"/>
            <ac:spMk id="3" creationId="{2C720681-B1E6-4AFC-A22D-259E9E28AF22}"/>
          </ac:spMkLst>
        </pc:spChg>
      </pc:sldChg>
      <pc:sldChg chg="addSp delSp modSp add modAnim">
        <pc:chgData name="Marco Minerva" userId="4af1190e2b3b463e" providerId="LiveId" clId="{545836FB-A438-4469-8CCF-94ECFE526787}" dt="2020-03-19T11:31:26.537" v="247" actId="1076"/>
        <pc:sldMkLst>
          <pc:docMk/>
          <pc:sldMk cId="2244137819" sldId="10182"/>
        </pc:sldMkLst>
        <pc:spChg chg="mod">
          <ac:chgData name="Marco Minerva" userId="4af1190e2b3b463e" providerId="LiveId" clId="{545836FB-A438-4469-8CCF-94ECFE526787}" dt="2020-03-19T11:31:12.240" v="245"/>
          <ac:spMkLst>
            <pc:docMk/>
            <pc:sldMk cId="2244137819" sldId="10182"/>
            <ac:spMk id="2" creationId="{E1DF07B7-884F-442A-BC7B-5E939FDF85DE}"/>
          </ac:spMkLst>
        </pc:spChg>
        <pc:spChg chg="mod">
          <ac:chgData name="Marco Minerva" userId="4af1190e2b3b463e" providerId="LiveId" clId="{545836FB-A438-4469-8CCF-94ECFE526787}" dt="2020-03-18T13:39:02.361" v="151" actId="20577"/>
          <ac:spMkLst>
            <pc:docMk/>
            <pc:sldMk cId="2244137819" sldId="10182"/>
            <ac:spMk id="3" creationId="{B39D1148-13D7-4FDF-9E44-8454E58B92AB}"/>
          </ac:spMkLst>
        </pc:spChg>
        <pc:spChg chg="add del">
          <ac:chgData name="Marco Minerva" userId="4af1190e2b3b463e" providerId="LiveId" clId="{545836FB-A438-4469-8CCF-94ECFE526787}" dt="2020-03-19T11:29:34.927" v="229"/>
          <ac:spMkLst>
            <pc:docMk/>
            <pc:sldMk cId="2244137819" sldId="10182"/>
            <ac:spMk id="4" creationId="{12B2B9C4-F8B1-4AB4-B2DE-A8711E622024}"/>
          </ac:spMkLst>
        </pc:spChg>
        <pc:picChg chg="add del mod">
          <ac:chgData name="Marco Minerva" userId="4af1190e2b3b463e" providerId="LiveId" clId="{545836FB-A438-4469-8CCF-94ECFE526787}" dt="2020-03-19T11:29:44.536" v="235"/>
          <ac:picMkLst>
            <pc:docMk/>
            <pc:sldMk cId="2244137819" sldId="10182"/>
            <ac:picMk id="2050" creationId="{33F9FD10-0741-4674-BAFE-54CF6D0AB79D}"/>
          </ac:picMkLst>
        </pc:picChg>
        <pc:picChg chg="add mod">
          <ac:chgData name="Marco Minerva" userId="4af1190e2b3b463e" providerId="LiveId" clId="{545836FB-A438-4469-8CCF-94ECFE526787}" dt="2020-03-19T11:31:26.537" v="247" actId="1076"/>
          <ac:picMkLst>
            <pc:docMk/>
            <pc:sldMk cId="2244137819" sldId="10182"/>
            <ac:picMk id="2052" creationId="{8264230B-DFE4-4671-A3C1-6991717BD06F}"/>
          </ac:picMkLst>
        </pc:picChg>
      </pc:sldChg>
      <pc:sldChg chg="modSp add">
        <pc:chgData name="Marco Minerva" userId="4af1190e2b3b463e" providerId="LiveId" clId="{545836FB-A438-4469-8CCF-94ECFE526787}" dt="2020-03-18T13:40:09.178" v="181" actId="20577"/>
        <pc:sldMkLst>
          <pc:docMk/>
          <pc:sldMk cId="3515633148" sldId="10183"/>
        </pc:sldMkLst>
        <pc:spChg chg="mod">
          <ac:chgData name="Marco Minerva" userId="4af1190e2b3b463e" providerId="LiveId" clId="{545836FB-A438-4469-8CCF-94ECFE526787}" dt="2020-03-18T13:40:09.178" v="181" actId="20577"/>
          <ac:spMkLst>
            <pc:docMk/>
            <pc:sldMk cId="3515633148" sldId="10183"/>
            <ac:spMk id="3" creationId="{2C720681-B1E6-4AFC-A22D-259E9E28AF22}"/>
          </ac:spMkLst>
        </pc:spChg>
      </pc:sldChg>
      <pc:sldChg chg="modSp add">
        <pc:chgData name="Marco Minerva" userId="4af1190e2b3b463e" providerId="LiveId" clId="{545836FB-A438-4469-8CCF-94ECFE526787}" dt="2020-03-18T13:41:06.480" v="209" actId="255"/>
        <pc:sldMkLst>
          <pc:docMk/>
          <pc:sldMk cId="3641975339" sldId="10184"/>
        </pc:sldMkLst>
        <pc:spChg chg="mod">
          <ac:chgData name="Marco Minerva" userId="4af1190e2b3b463e" providerId="LiveId" clId="{545836FB-A438-4469-8CCF-94ECFE526787}" dt="2020-03-18T13:41:06.480" v="209" actId="255"/>
          <ac:spMkLst>
            <pc:docMk/>
            <pc:sldMk cId="3641975339" sldId="10184"/>
            <ac:spMk id="2" creationId="{700E609F-5121-4BF6-A7E6-B558083306AF}"/>
          </ac:spMkLst>
        </pc:spChg>
        <pc:spChg chg="mod">
          <ac:chgData name="Marco Minerva" userId="4af1190e2b3b463e" providerId="LiveId" clId="{545836FB-A438-4469-8CCF-94ECFE526787}" dt="2020-03-18T13:40:29.642" v="191" actId="20577"/>
          <ac:spMkLst>
            <pc:docMk/>
            <pc:sldMk cId="3641975339" sldId="10184"/>
            <ac:spMk id="3" creationId="{1562E2EF-10BD-42F8-B72C-244A14A1D99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0F11AF-D379-F34E-BD24-5E1B860FC682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2682F-A62F-0E40-93D6-4DAE72806986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369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baseline="0"/>
              <a:t>You can build anything with .NET.  </a:t>
            </a:r>
          </a:p>
          <a:p>
            <a:endParaRPr lang="en-US" baseline="0"/>
          </a:p>
          <a:p>
            <a:r>
              <a:rPr lang="en-US" baseline="0"/>
              <a:t>We’ve made significant investments in .NET over the years as well as unifying the ecosystem to support building literally anything. From desktop to gaming to the cloud, .NET is a general purpose programming platform that enables all kinds of application scenarios. Once you learn one, you can easily pick up another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AE778D-2A57-4226-B72B-26EA3CA601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2030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42682F-A62F-0E40-93D6-4DAE72806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530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emf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346836"/>
            <a:ext cx="1097280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3932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41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69880" y="438150"/>
            <a:ext cx="3154680" cy="697420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5840" y="438150"/>
            <a:ext cx="9281160" cy="697420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082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4630400" cy="8229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323087" y="2493361"/>
            <a:ext cx="7529969" cy="4311096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111" tIns="172088" rIns="215111" bIns="1720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967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2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23162" y="2493377"/>
            <a:ext cx="7531836" cy="2151725"/>
          </a:xfrm>
          <a:noFill/>
        </p:spPr>
        <p:txBody>
          <a:bodyPr lIns="146304" tIns="91440" rIns="146304" bIns="91440" anchor="t" anchorCtr="0"/>
          <a:lstStyle>
            <a:lvl1pPr>
              <a:defRPr sz="6352" spc="-11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21220" y="4652731"/>
            <a:ext cx="7531836" cy="21517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76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 bwMode="gray">
          <a:xfrm>
            <a:off x="538231" y="582974"/>
            <a:ext cx="1978032" cy="424720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18"/>
            </a:p>
          </p:txBody>
        </p:sp>
      </p:grpSp>
    </p:spTree>
    <p:extLst>
      <p:ext uri="{BB962C8B-B14F-4D97-AF65-F5344CB8AC3E}">
        <p14:creationId xmlns:p14="http://schemas.microsoft.com/office/powerpoint/2010/main" val="5589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25325" y="4652727"/>
            <a:ext cx="7528102" cy="2153593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763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162" y="2491008"/>
            <a:ext cx="9681312" cy="2151725"/>
          </a:xfrm>
          <a:noFill/>
        </p:spPr>
        <p:txBody>
          <a:bodyPr lIns="146304" tIns="91440" rIns="146304" bIns="91440" anchor="t" anchorCtr="0"/>
          <a:lstStyle>
            <a:lvl1pPr>
              <a:defRPr sz="6352" spc="-11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gray">
          <a:xfrm>
            <a:off x="538231" y="7240802"/>
            <a:ext cx="1978032" cy="424720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18"/>
            </a:p>
          </p:txBody>
        </p:sp>
      </p:grpSp>
    </p:spTree>
    <p:extLst>
      <p:ext uri="{BB962C8B-B14F-4D97-AF65-F5344CB8AC3E}">
        <p14:creationId xmlns:p14="http://schemas.microsoft.com/office/powerpoint/2010/main" val="362909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22019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3"/>
            </a:lvl2pPr>
            <a:lvl3pPr marL="268865" indent="0">
              <a:buNone/>
              <a:defRPr/>
            </a:lvl3pPr>
            <a:lvl4pPr marL="537728" indent="0">
              <a:buNone/>
              <a:defRPr/>
            </a:lvl4pPr>
            <a:lvl5pPr marL="80659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68181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22019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3"/>
            </a:lvl2pPr>
            <a:lvl3pPr marL="268865" indent="0">
              <a:buNone/>
              <a:defRPr/>
            </a:lvl3pPr>
            <a:lvl4pPr marL="537728" indent="0">
              <a:buNone/>
              <a:defRPr/>
            </a:lvl4pPr>
            <a:lvl5pPr marL="80659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435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2201988"/>
          </a:xfrm>
        </p:spPr>
        <p:txBody>
          <a:bodyPr>
            <a:spAutoFit/>
          </a:bodyPr>
          <a:lstStyle>
            <a:lvl1pPr>
              <a:defRPr sz="42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12620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2201988"/>
          </a:xfrm>
        </p:spPr>
        <p:txBody>
          <a:bodyPr>
            <a:spAutoFit/>
          </a:bodyPr>
          <a:lstStyle>
            <a:lvl1pPr>
              <a:defRPr sz="4234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711885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90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353"/>
            </a:lvl2pPr>
            <a:lvl3pPr marL="272598" indent="0">
              <a:buNone/>
              <a:tabLst/>
              <a:defRPr sz="2353"/>
            </a:lvl3pPr>
            <a:lvl4pPr marL="541463" indent="0">
              <a:buNone/>
              <a:defRPr/>
            </a:lvl4pPr>
            <a:lvl5pPr marL="80659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353"/>
            </a:lvl2pPr>
            <a:lvl3pPr marL="272598" indent="0">
              <a:buNone/>
              <a:tabLst/>
              <a:defRPr sz="2353"/>
            </a:lvl3pPr>
            <a:lvl4pPr marL="541463" indent="0">
              <a:buNone/>
              <a:defRPr/>
            </a:lvl4pPr>
            <a:lvl5pPr marL="80659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661565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90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4"/>
            </a:lvl1pPr>
            <a:lvl2pPr marL="0" indent="0">
              <a:buNone/>
              <a:defRPr sz="2353"/>
            </a:lvl2pPr>
            <a:lvl3pPr marL="272598" indent="0">
              <a:buNone/>
              <a:tabLst/>
              <a:defRPr sz="2353"/>
            </a:lvl3pPr>
            <a:lvl4pPr marL="541463" indent="0">
              <a:buNone/>
              <a:defRPr/>
            </a:lvl4pPr>
            <a:lvl5pPr marL="80659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4"/>
            </a:lvl1pPr>
            <a:lvl2pPr marL="0" indent="0">
              <a:buNone/>
              <a:defRPr sz="2353"/>
            </a:lvl2pPr>
            <a:lvl3pPr marL="272598" indent="0">
              <a:buNone/>
              <a:tabLst/>
              <a:defRPr sz="2353"/>
            </a:lvl3pPr>
            <a:lvl4pPr marL="541463" indent="0">
              <a:buNone/>
              <a:defRPr/>
            </a:lvl4pPr>
            <a:lvl5pPr marL="80659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54635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2779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90" y="1427013"/>
            <a:ext cx="6454258" cy="2256234"/>
          </a:xfrm>
        </p:spPr>
        <p:txBody>
          <a:bodyPr wrap="square">
            <a:spAutoFit/>
          </a:bodyPr>
          <a:lstStyle>
            <a:lvl1pPr marL="337948" indent="-337948">
              <a:spcBef>
                <a:spcPts val="1440"/>
              </a:spcBef>
              <a:buClr>
                <a:schemeClr val="tx2"/>
              </a:buClr>
              <a:buFont typeface="Arial" pitchFamily="34" charset="0"/>
              <a:buChar char="•"/>
              <a:defRPr sz="3763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624722" indent="-274268">
              <a:defRPr sz="2824"/>
            </a:lvl2pPr>
            <a:lvl3pPr marL="822805" indent="-198084">
              <a:tabLst/>
              <a:defRPr sz="2353"/>
            </a:lvl3pPr>
            <a:lvl4pPr marL="1036124" indent="-213320">
              <a:defRPr/>
            </a:lvl4pPr>
            <a:lvl5pPr marL="1234207" indent="-198084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3"/>
            <a:ext cx="6454258" cy="2256234"/>
          </a:xfrm>
        </p:spPr>
        <p:txBody>
          <a:bodyPr wrap="square">
            <a:spAutoFit/>
          </a:bodyPr>
          <a:lstStyle>
            <a:lvl1pPr marL="337948" indent="-337948">
              <a:spcBef>
                <a:spcPts val="1440"/>
              </a:spcBef>
              <a:buClr>
                <a:schemeClr val="tx2"/>
              </a:buClr>
              <a:buFont typeface="Arial" pitchFamily="34" charset="0"/>
              <a:buChar char="•"/>
              <a:defRPr sz="3763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624722" indent="-274268">
              <a:defRPr sz="2824"/>
            </a:lvl2pPr>
            <a:lvl3pPr marL="822805" indent="-198084">
              <a:tabLst/>
              <a:defRPr sz="2353"/>
            </a:lvl3pPr>
            <a:lvl4pPr marL="1036124" indent="-213320">
              <a:defRPr/>
            </a:lvl4pPr>
            <a:lvl5pPr marL="1234207" indent="-198084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84270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90" y="1427013"/>
            <a:ext cx="6454258" cy="2256234"/>
          </a:xfrm>
        </p:spPr>
        <p:txBody>
          <a:bodyPr wrap="square">
            <a:spAutoFit/>
          </a:bodyPr>
          <a:lstStyle>
            <a:lvl1pPr marL="337948" indent="-337948">
              <a:spcBef>
                <a:spcPts val="1440"/>
              </a:spcBef>
              <a:buClr>
                <a:schemeClr val="tx1"/>
              </a:buClr>
              <a:buFont typeface="Arial" pitchFamily="34" charset="0"/>
              <a:buChar char="•"/>
              <a:defRPr sz="3763"/>
            </a:lvl1pPr>
            <a:lvl2pPr marL="624722" indent="-274268">
              <a:defRPr sz="2824"/>
            </a:lvl2pPr>
            <a:lvl3pPr marL="822805" indent="-198084">
              <a:tabLst/>
              <a:defRPr sz="2353"/>
            </a:lvl3pPr>
            <a:lvl4pPr marL="1036124" indent="-213320">
              <a:defRPr/>
            </a:lvl4pPr>
            <a:lvl5pPr marL="1234207" indent="-198084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3"/>
            <a:ext cx="6454258" cy="2256234"/>
          </a:xfrm>
        </p:spPr>
        <p:txBody>
          <a:bodyPr wrap="square">
            <a:spAutoFit/>
          </a:bodyPr>
          <a:lstStyle>
            <a:lvl1pPr marL="337948" indent="-337948">
              <a:spcBef>
                <a:spcPts val="1440"/>
              </a:spcBef>
              <a:buClr>
                <a:schemeClr val="tx1"/>
              </a:buClr>
              <a:buFont typeface="Arial" pitchFamily="34" charset="0"/>
              <a:buChar char="•"/>
              <a:defRPr sz="3763"/>
            </a:lvl1pPr>
            <a:lvl2pPr marL="624722" indent="-274268">
              <a:defRPr sz="2824"/>
            </a:lvl2pPr>
            <a:lvl3pPr marL="822805" indent="-198084">
              <a:tabLst/>
              <a:defRPr sz="2353"/>
            </a:lvl3pPr>
            <a:lvl4pPr marL="1036124" indent="-213320">
              <a:defRPr/>
            </a:lvl4pPr>
            <a:lvl5pPr marL="1234207" indent="-198084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779753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4630400" cy="8229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323087" y="2493360"/>
            <a:ext cx="7529969" cy="4311096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142" tIns="172114" rIns="215142" bIns="1721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9692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2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23162" y="2493377"/>
            <a:ext cx="7531836" cy="2151725"/>
          </a:xfrm>
          <a:noFill/>
        </p:spPr>
        <p:txBody>
          <a:bodyPr lIns="146304" tIns="91440" rIns="146304" bIns="91440" anchor="t" anchorCtr="0"/>
          <a:lstStyle>
            <a:lvl1pPr>
              <a:defRPr sz="6353" spc="-11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21220" y="4652731"/>
            <a:ext cx="7531836" cy="21517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76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 bwMode="gray">
          <a:xfrm>
            <a:off x="538230" y="582972"/>
            <a:ext cx="1978032" cy="424720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18"/>
            </a:p>
          </p:txBody>
        </p:sp>
      </p:grpSp>
    </p:spTree>
    <p:extLst>
      <p:ext uri="{BB962C8B-B14F-4D97-AF65-F5344CB8AC3E}">
        <p14:creationId xmlns:p14="http://schemas.microsoft.com/office/powerpoint/2010/main" val="239478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704342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C81D23-A26E-447B-A55E-777AB8A4339E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-1" y="1339404"/>
          <a:ext cx="14630367" cy="5687404"/>
        </p:xfrm>
        <a:graphic>
          <a:graphicData uri="http://schemas.openxmlformats.org/drawingml/2006/table">
            <a:tbl>
              <a:tblPr firstRow="1" firstCol="1"/>
              <a:tblGrid>
                <a:gridCol w="1035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043461695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28708437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154085164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281398059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918652714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95875475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163023332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450150605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574616870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845108219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565731121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90663602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209304530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208943728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656220805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841485736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829303661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63668326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75617745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402720456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269372864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011442485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483085159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18410650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13255599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546123332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147134839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222020372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864639721"/>
                    </a:ext>
                  </a:extLst>
                </a:gridCol>
                <a:gridCol w="235807">
                  <a:extLst>
                    <a:ext uri="{9D8B030D-6E8A-4147-A177-3AD203B41FA5}">
                      <a16:colId xmlns:a16="http://schemas.microsoft.com/office/drawing/2014/main" val="1449697995"/>
                    </a:ext>
                  </a:extLst>
                </a:gridCol>
                <a:gridCol w="368431">
                  <a:extLst>
                    <a:ext uri="{9D8B030D-6E8A-4147-A177-3AD203B41FA5}">
                      <a16:colId xmlns:a16="http://schemas.microsoft.com/office/drawing/2014/main" val="295647227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796919326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045149011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558049757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90382975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23762008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01320548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624420384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699594236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4102291264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243003581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647561963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733607060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3192155292"/>
                    </a:ext>
                  </a:extLst>
                </a:gridCol>
                <a:gridCol w="302119">
                  <a:extLst>
                    <a:ext uri="{9D8B030D-6E8A-4147-A177-3AD203B41FA5}">
                      <a16:colId xmlns:a16="http://schemas.microsoft.com/office/drawing/2014/main" val="1124378658"/>
                    </a:ext>
                  </a:extLst>
                </a:gridCol>
              </a:tblGrid>
              <a:tr h="841019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24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1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06622"/>
                  </a:ext>
                </a:extLst>
              </a:tr>
              <a:tr h="735859">
                <a:tc>
                  <a:txBody>
                    <a:bodyPr/>
                    <a:lstStyle>
                      <a:lvl1pPr marL="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25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25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374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498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623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2746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99871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6997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800" b="1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8935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>
                        <a:tabLst>
                          <a:tab pos="1431925" algn="l"/>
                        </a:tabLst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ng Term Plan</a:t>
                      </a:r>
                      <a:endParaRPr lang="en-US" sz="7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781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207642"/>
                  </a:ext>
                </a:extLst>
              </a:tr>
              <a:tr h="1511591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7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MO</a:t>
                      </a:r>
                    </a:p>
                  </a:txBody>
                  <a:tcPr marL="37781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175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591656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C81D23-A26E-447B-A55E-777AB8A4339E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23088" y="1842152"/>
          <a:ext cx="13986978" cy="5114105"/>
        </p:xfrm>
        <a:graphic>
          <a:graphicData uri="http://schemas.openxmlformats.org/drawingml/2006/table">
            <a:tbl>
              <a:tblPr firstRow="1" firstCol="1"/>
              <a:tblGrid>
                <a:gridCol w="76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434616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708437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40851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13980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186527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9587547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30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501506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7461687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4510821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657311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66360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930453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894372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6562208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8414857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293036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366832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561774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027204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2693728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1144248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830851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841065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3255599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5461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4713483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2202037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8646397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496979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956472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691932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04514901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5804975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38297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376200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013205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2442038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6995942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022912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300358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475619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3360706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9215529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2437865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825533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505814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7008624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309003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393095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0697359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729095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429811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3736005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3727189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8829640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826053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96290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00990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146068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946139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996535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29323407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302830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2507722"/>
                    </a:ext>
                  </a:extLst>
                </a:gridCol>
              </a:tblGrid>
              <a:tr h="365760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4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1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0"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Dec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06622"/>
                  </a:ext>
                </a:extLst>
              </a:tr>
              <a:tr h="294101">
                <a:tc>
                  <a:txBody>
                    <a:bodyPr/>
                    <a:lstStyle>
                      <a:lvl1pPr marL="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25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25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374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498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623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2746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99871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6997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800" b="1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82874">
                <a:tc>
                  <a:txBody>
                    <a:bodyPr/>
                    <a:lstStyle/>
                    <a:p>
                      <a:pPr algn="l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207642"/>
                  </a:ext>
                </a:extLst>
              </a:tr>
              <a:tr h="922774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TM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755555"/>
                  </a:ext>
                </a:extLst>
              </a:tr>
              <a:tr h="922774">
                <a:tc>
                  <a:txBody>
                    <a:bodyPr/>
                    <a:lstStyle/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ales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175792"/>
                  </a:ext>
                </a:extLst>
              </a:tr>
              <a:tr h="922774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63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518109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C81D23-A26E-447B-A55E-777AB8A4339E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23088" y="1842152"/>
          <a:ext cx="13986978" cy="5537522"/>
        </p:xfrm>
        <a:graphic>
          <a:graphicData uri="http://schemas.openxmlformats.org/drawingml/2006/table">
            <a:tbl>
              <a:tblPr firstRow="1" firstCol="1"/>
              <a:tblGrid>
                <a:gridCol w="76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434616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708437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40851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13980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186527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9587547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30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501506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7461687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4510821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657311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66360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930453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894372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6562208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8414857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293036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366832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561774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027204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2693728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1144248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830851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841065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3255599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5461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4713483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2202037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8646397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496979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956472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691932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04514901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5804975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38297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376200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013205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2442038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6995942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022912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300358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475619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3360706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9215529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2437865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825533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505814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7008624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309003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393095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0697359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729095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429811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3736005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3727189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8829640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826053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96290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00990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146068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946139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996535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29323407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302830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2507722"/>
                    </a:ext>
                  </a:extLst>
                </a:gridCol>
              </a:tblGrid>
              <a:tr h="365760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4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1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0"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Dec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06622"/>
                  </a:ext>
                </a:extLst>
              </a:tr>
              <a:tr h="424638">
                <a:tc>
                  <a:txBody>
                    <a:bodyPr/>
                    <a:lstStyle>
                      <a:lvl1pPr marL="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25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25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374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498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623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2746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99871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6997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800" b="1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86019">
                <a:tc>
                  <a:txBody>
                    <a:bodyPr/>
                    <a:lstStyle/>
                    <a:p>
                      <a:pPr algn="l"/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nance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207642"/>
                  </a:ext>
                </a:extLst>
              </a:tr>
              <a:tr h="1186019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rketing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755555"/>
                  </a:ext>
                </a:extLst>
              </a:tr>
              <a:tr h="1186019">
                <a:tc>
                  <a:txBody>
                    <a:bodyPr/>
                    <a:lstStyle/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eld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175792"/>
                  </a:ext>
                </a:extLst>
              </a:tr>
              <a:tr h="1186019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/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63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274578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88" y="347415"/>
            <a:ext cx="13987008" cy="8410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4005" y="1188454"/>
            <a:ext cx="13986094" cy="575799"/>
          </a:xfrm>
        </p:spPr>
        <p:txBody>
          <a:bodyPr/>
          <a:lstStyle>
            <a:lvl1pPr marL="0" indent="0" algn="l" defTabSz="10970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 algn="l" defTabSz="10970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2pPr>
            <a:lvl3pPr marL="0" indent="0" algn="l" defTabSz="10970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3pPr>
            <a:lvl4pPr marL="0" indent="0" algn="l" defTabSz="10970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4pPr>
            <a:lvl5pPr marL="0" indent="0" algn="l" defTabSz="10970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0512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1423627"/>
            <a:ext cx="11830939" cy="3237586"/>
          </a:xfrm>
          <a:noFill/>
        </p:spPr>
        <p:txBody>
          <a:bodyPr tIns="91440" bIns="91440" anchor="t" anchorCtr="0"/>
          <a:lstStyle>
            <a:lvl1pPr>
              <a:defRPr sz="8467" spc="-11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23089" y="4652734"/>
            <a:ext cx="11832809" cy="215265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42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459791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1423627"/>
            <a:ext cx="11830939" cy="3237586"/>
          </a:xfrm>
          <a:noFill/>
        </p:spPr>
        <p:txBody>
          <a:bodyPr tIns="91440" bIns="91440" anchor="t" anchorCtr="0"/>
          <a:lstStyle>
            <a:lvl1pPr>
              <a:defRPr lang="en-US" sz="8467" b="0" kern="1200" cap="none" spc="-11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653739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220" y="2051686"/>
            <a:ext cx="12618720" cy="3423284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8220" y="5507356"/>
            <a:ext cx="1261872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267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2501008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67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65935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2501008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67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4546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2501008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67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49377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2501008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67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1466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C81D23-A26E-447B-A55E-777AB8A4339E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23088" y="1842150"/>
          <a:ext cx="13986978" cy="5114105"/>
        </p:xfrm>
        <a:graphic>
          <a:graphicData uri="http://schemas.openxmlformats.org/drawingml/2006/table">
            <a:tbl>
              <a:tblPr firstRow="1" firstCol="1"/>
              <a:tblGrid>
                <a:gridCol w="76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434616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708437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40851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13980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186527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9587547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30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501506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7461687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4510821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657311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66360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930453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894372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6562208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8414857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293036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366832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561774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027204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2693728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1144248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830851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841065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3255599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5461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4713483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2202037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8646397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496979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956472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691932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04514901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5804975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38297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376200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013205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2442038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6995942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022912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300358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475619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3360706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9215529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2437865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825533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505814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7008624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309003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393095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0697359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729095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429811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3736005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3727189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8829640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826053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96290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00990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146068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946139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996535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29323407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302830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2507722"/>
                    </a:ext>
                  </a:extLst>
                </a:gridCol>
              </a:tblGrid>
              <a:tr h="365760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4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1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0"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Dec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06622"/>
                  </a:ext>
                </a:extLst>
              </a:tr>
              <a:tr h="294101">
                <a:tc>
                  <a:txBody>
                    <a:bodyPr/>
                    <a:lstStyle>
                      <a:lvl1pPr marL="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25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25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374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498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623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2746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99871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6997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800" b="1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82874">
                <a:tc>
                  <a:txBody>
                    <a:bodyPr/>
                    <a:lstStyle/>
                    <a:p>
                      <a:pPr algn="l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207642"/>
                  </a:ext>
                </a:extLst>
              </a:tr>
              <a:tr h="922774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TM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755555"/>
                  </a:ext>
                </a:extLst>
              </a:tr>
              <a:tr h="922774">
                <a:tc>
                  <a:txBody>
                    <a:bodyPr/>
                    <a:lstStyle/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ales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175792"/>
                  </a:ext>
                </a:extLst>
              </a:tr>
              <a:tr h="922774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</a:p>
                  </a:txBody>
                  <a:tcPr marL="109728" marR="37781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63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186972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C81D23-A26E-447B-A55E-777AB8A4339E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23088" y="1842151"/>
          <a:ext cx="13986978" cy="5537522"/>
        </p:xfrm>
        <a:graphic>
          <a:graphicData uri="http://schemas.openxmlformats.org/drawingml/2006/table">
            <a:tbl>
              <a:tblPr firstRow="1" firstCol="1"/>
              <a:tblGrid>
                <a:gridCol w="76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434616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708437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40851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813980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186527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9587547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30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501506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7461687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4510821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657311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66360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930453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20894372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65622080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8414857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8293036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366832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561774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027204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2693728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01144248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8308515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841065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3255599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54612333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47134839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2202037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8646397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44969799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956472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691932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04514901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5804975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0382975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2376200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013205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2442038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69959423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0229126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4300358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6475619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73360706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9215529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2437865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825533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5058142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17008624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793090035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93930952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06973592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7290956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642981148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37360051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43727189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58829640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82605363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962907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35009905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11460681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3159461390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5996535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293234076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1930283054"/>
                    </a:ext>
                  </a:extLst>
                </a:gridCol>
                <a:gridCol w="203423">
                  <a:extLst>
                    <a:ext uri="{9D8B030D-6E8A-4147-A177-3AD203B41FA5}">
                      <a16:colId xmlns:a16="http://schemas.microsoft.com/office/drawing/2014/main" val="2162507722"/>
                    </a:ext>
                  </a:extLst>
                </a:gridCol>
              </a:tblGrid>
              <a:tr h="365760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4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09728" marR="109728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5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1"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0"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solidFill>
                            <a:schemeClr val="tx1"/>
                          </a:solidFill>
                        </a:rPr>
                        <a:t>December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206622"/>
                  </a:ext>
                </a:extLst>
              </a:tr>
              <a:tr h="424638">
                <a:tc>
                  <a:txBody>
                    <a:bodyPr/>
                    <a:lstStyle>
                      <a:lvl1pPr marL="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25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250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374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498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623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2746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99871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6997" algn="l" defTabSz="514250" rtl="0" eaLnBrk="1" latinLnBrk="0" hangingPunct="1">
                        <a:defRPr sz="1013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800" b="1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8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29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86019">
                <a:tc>
                  <a:txBody>
                    <a:bodyPr/>
                    <a:lstStyle/>
                    <a:p>
                      <a:pPr algn="l"/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nance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6207642"/>
                  </a:ext>
                </a:extLst>
              </a:tr>
              <a:tr h="1186019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rketing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755555"/>
                  </a:ext>
                </a:extLst>
              </a:tr>
              <a:tr h="1186019">
                <a:tc>
                  <a:txBody>
                    <a:bodyPr/>
                    <a:lstStyle/>
                    <a:p>
                      <a:pPr algn="l">
                        <a:tabLst>
                          <a:tab pos="1431925" algn="l"/>
                        </a:tabLst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eld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175792"/>
                  </a:ext>
                </a:extLst>
              </a:tr>
              <a:tr h="1186019">
                <a:tc>
                  <a:txBody>
                    <a:bodyPr/>
                    <a:lstStyle>
                      <a:lvl1pPr marL="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183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367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550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73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918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3101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200284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7469" algn="l" defTabSz="914367" rtl="0" eaLnBrk="1" latinLnBrk="0" hangingPunct="1">
                        <a:defRPr sz="1765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pPr algn="l"/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rtner</a:t>
                      </a:r>
                    </a:p>
                  </a:txBody>
                  <a:tcPr marL="54864" marR="0" marT="37408" marB="3740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05050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D2D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rgbClr val="505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165346" rtl="0" eaLnBrk="1" latinLnBrk="0" hangingPunct="1"/>
                      <a:endParaRPr lang="en-US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2D2D2">
                          <a:lumMod val="9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163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09127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7" y="2501007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70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10852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4630400" cy="8229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323087" y="2493360"/>
            <a:ext cx="7529969" cy="4311096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5142" tIns="172114" rIns="215142" bIns="1721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9692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2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23162" y="2493377"/>
            <a:ext cx="7531836" cy="2151725"/>
          </a:xfrm>
          <a:noFill/>
        </p:spPr>
        <p:txBody>
          <a:bodyPr lIns="146304" tIns="91440" rIns="146304" bIns="91440" anchor="t" anchorCtr="0"/>
          <a:lstStyle>
            <a:lvl1pPr>
              <a:defRPr sz="6353" spc="-11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21220" y="4652731"/>
            <a:ext cx="7531836" cy="215172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76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 bwMode="gray">
          <a:xfrm>
            <a:off x="538230" y="582972"/>
            <a:ext cx="1978032" cy="424720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18"/>
            </a:p>
          </p:txBody>
        </p:sp>
      </p:grpSp>
    </p:spTree>
    <p:extLst>
      <p:ext uri="{BB962C8B-B14F-4D97-AF65-F5344CB8AC3E}">
        <p14:creationId xmlns:p14="http://schemas.microsoft.com/office/powerpoint/2010/main" val="293543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25325" y="4652726"/>
            <a:ext cx="7528102" cy="2153593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76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162" y="2491008"/>
            <a:ext cx="9681312" cy="2151725"/>
          </a:xfrm>
          <a:noFill/>
        </p:spPr>
        <p:txBody>
          <a:bodyPr lIns="146304" tIns="91440" rIns="146304" bIns="91440" anchor="t" anchorCtr="0"/>
          <a:lstStyle>
            <a:lvl1pPr>
              <a:defRPr sz="6353" spc="-11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gray">
          <a:xfrm>
            <a:off x="538230" y="7240800"/>
            <a:ext cx="1978032" cy="424720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18"/>
            </a:p>
          </p:txBody>
        </p:sp>
      </p:grpSp>
    </p:spTree>
    <p:extLst>
      <p:ext uri="{BB962C8B-B14F-4D97-AF65-F5344CB8AC3E}">
        <p14:creationId xmlns:p14="http://schemas.microsoft.com/office/powerpoint/2010/main" val="57007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087" y="1427012"/>
            <a:ext cx="13984228" cy="22019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3"/>
            </a:lvl2pPr>
            <a:lvl3pPr marL="268916" indent="0">
              <a:buNone/>
              <a:defRPr/>
            </a:lvl3pPr>
            <a:lvl4pPr marL="537832" indent="0">
              <a:buNone/>
              <a:defRPr/>
            </a:lvl4pPr>
            <a:lvl5pPr marL="80674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202280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5840" y="2190750"/>
            <a:ext cx="6217920" cy="52216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06640" y="2190750"/>
            <a:ext cx="6217920" cy="52216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51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087" y="1427012"/>
            <a:ext cx="13984228" cy="22019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3"/>
            </a:lvl2pPr>
            <a:lvl3pPr marL="268916" indent="0">
              <a:buNone/>
              <a:defRPr/>
            </a:lvl3pPr>
            <a:lvl4pPr marL="537832" indent="0">
              <a:buNone/>
              <a:defRPr/>
            </a:lvl4pPr>
            <a:lvl5pPr marL="80674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560283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7" y="1427012"/>
            <a:ext cx="13984228" cy="2201988"/>
          </a:xfrm>
        </p:spPr>
        <p:txBody>
          <a:bodyPr>
            <a:spAutoFit/>
          </a:bodyPr>
          <a:lstStyle>
            <a:lvl1pPr>
              <a:defRPr sz="42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461480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7" y="1427012"/>
            <a:ext cx="13984228" cy="2201988"/>
          </a:xfrm>
        </p:spPr>
        <p:txBody>
          <a:bodyPr>
            <a:spAutoFit/>
          </a:bodyPr>
          <a:lstStyle>
            <a:lvl1pPr>
              <a:defRPr sz="4235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921447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9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353"/>
            </a:lvl2pPr>
            <a:lvl3pPr marL="272651" indent="0">
              <a:buNone/>
              <a:tabLst/>
              <a:defRPr sz="2353"/>
            </a:lvl3pPr>
            <a:lvl4pPr marL="541567" indent="0">
              <a:buNone/>
              <a:defRPr/>
            </a:lvl4pPr>
            <a:lvl5pPr marL="80674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5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353"/>
            </a:lvl2pPr>
            <a:lvl3pPr marL="272651" indent="0">
              <a:buNone/>
              <a:tabLst/>
              <a:defRPr sz="2353"/>
            </a:lvl3pPr>
            <a:lvl4pPr marL="541567" indent="0">
              <a:buNone/>
              <a:defRPr/>
            </a:lvl4pPr>
            <a:lvl5pPr marL="80674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56509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9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5"/>
            </a:lvl1pPr>
            <a:lvl2pPr marL="0" indent="0">
              <a:buNone/>
              <a:defRPr sz="2353"/>
            </a:lvl2pPr>
            <a:lvl3pPr marL="272651" indent="0">
              <a:buNone/>
              <a:tabLst/>
              <a:defRPr sz="2353"/>
            </a:lvl3pPr>
            <a:lvl4pPr marL="541567" indent="0">
              <a:buNone/>
              <a:defRPr/>
            </a:lvl4pPr>
            <a:lvl5pPr marL="80674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1"/>
            <a:ext cx="6454258" cy="2241768"/>
          </a:xfrm>
        </p:spPr>
        <p:txBody>
          <a:bodyPr wrap="square">
            <a:spAutoFit/>
          </a:bodyPr>
          <a:lstStyle>
            <a:lvl1pPr marL="0" indent="0">
              <a:spcBef>
                <a:spcPts val="1440"/>
              </a:spcBef>
              <a:buClr>
                <a:schemeClr val="tx1"/>
              </a:buClr>
              <a:buFont typeface="Wingdings" pitchFamily="2" charset="2"/>
              <a:buNone/>
              <a:defRPr sz="4235"/>
            </a:lvl1pPr>
            <a:lvl2pPr marL="0" indent="0">
              <a:buNone/>
              <a:defRPr sz="2353"/>
            </a:lvl2pPr>
            <a:lvl3pPr marL="272651" indent="0">
              <a:buNone/>
              <a:tabLst/>
              <a:defRPr sz="2353"/>
            </a:lvl3pPr>
            <a:lvl4pPr marL="541567" indent="0">
              <a:buNone/>
              <a:defRPr/>
            </a:lvl4pPr>
            <a:lvl5pPr marL="806748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02834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9" y="1427012"/>
            <a:ext cx="6454258" cy="2256234"/>
          </a:xfrm>
        </p:spPr>
        <p:txBody>
          <a:bodyPr wrap="square">
            <a:spAutoFit/>
          </a:bodyPr>
          <a:lstStyle>
            <a:lvl1pPr marL="338012" indent="-338012">
              <a:spcBef>
                <a:spcPts val="1440"/>
              </a:spcBef>
              <a:buClr>
                <a:schemeClr val="tx2"/>
              </a:buClr>
              <a:buFont typeface="Arial" pitchFamily="34" charset="0"/>
              <a:buChar char="•"/>
              <a:defRPr sz="376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624842" indent="-274321">
              <a:defRPr sz="2824"/>
            </a:lvl2pPr>
            <a:lvl3pPr marL="822964" indent="-198121">
              <a:tabLst/>
              <a:defRPr sz="2353"/>
            </a:lvl3pPr>
            <a:lvl4pPr marL="1036324" indent="-213361">
              <a:defRPr/>
            </a:lvl4pPr>
            <a:lvl5pPr marL="1234445" indent="-19812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2"/>
            <a:ext cx="6454258" cy="2256234"/>
          </a:xfrm>
        </p:spPr>
        <p:txBody>
          <a:bodyPr wrap="square">
            <a:spAutoFit/>
          </a:bodyPr>
          <a:lstStyle>
            <a:lvl1pPr marL="338012" indent="-338012">
              <a:spcBef>
                <a:spcPts val="1440"/>
              </a:spcBef>
              <a:buClr>
                <a:schemeClr val="tx2"/>
              </a:buClr>
              <a:buFont typeface="Arial" pitchFamily="34" charset="0"/>
              <a:buChar char="•"/>
              <a:defRPr sz="376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624842" indent="-274321">
              <a:defRPr sz="2824"/>
            </a:lvl2pPr>
            <a:lvl3pPr marL="822964" indent="-198121">
              <a:tabLst/>
              <a:defRPr sz="2353"/>
            </a:lvl3pPr>
            <a:lvl4pPr marL="1036324" indent="-213361">
              <a:defRPr/>
            </a:lvl4pPr>
            <a:lvl5pPr marL="1234445" indent="-19812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5562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9" y="1427012"/>
            <a:ext cx="6454258" cy="2256234"/>
          </a:xfrm>
        </p:spPr>
        <p:txBody>
          <a:bodyPr wrap="square">
            <a:spAutoFit/>
          </a:bodyPr>
          <a:lstStyle>
            <a:lvl1pPr marL="338012" indent="-338012">
              <a:spcBef>
                <a:spcPts val="1440"/>
              </a:spcBef>
              <a:buClr>
                <a:schemeClr val="tx1"/>
              </a:buClr>
              <a:buFont typeface="Arial" pitchFamily="34" charset="0"/>
              <a:buChar char="•"/>
              <a:defRPr sz="3764"/>
            </a:lvl1pPr>
            <a:lvl2pPr marL="624842" indent="-274321">
              <a:defRPr sz="2824"/>
            </a:lvl2pPr>
            <a:lvl3pPr marL="822964" indent="-198121">
              <a:tabLst/>
              <a:defRPr sz="2353"/>
            </a:lvl3pPr>
            <a:lvl4pPr marL="1036324" indent="-213361">
              <a:defRPr/>
            </a:lvl4pPr>
            <a:lvl5pPr marL="1234445" indent="-19812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53057" y="1427012"/>
            <a:ext cx="6454258" cy="2256234"/>
          </a:xfrm>
        </p:spPr>
        <p:txBody>
          <a:bodyPr wrap="square">
            <a:spAutoFit/>
          </a:bodyPr>
          <a:lstStyle>
            <a:lvl1pPr marL="338012" indent="-338012">
              <a:spcBef>
                <a:spcPts val="1440"/>
              </a:spcBef>
              <a:buClr>
                <a:schemeClr val="tx1"/>
              </a:buClr>
              <a:buFont typeface="Arial" pitchFamily="34" charset="0"/>
              <a:buChar char="•"/>
              <a:defRPr sz="3764"/>
            </a:lvl1pPr>
            <a:lvl2pPr marL="624842" indent="-274321">
              <a:defRPr sz="2824"/>
            </a:lvl2pPr>
            <a:lvl3pPr marL="822964" indent="-198121">
              <a:tabLst/>
              <a:defRPr sz="2353"/>
            </a:lvl3pPr>
            <a:lvl4pPr marL="1036324" indent="-213361">
              <a:defRPr/>
            </a:lvl4pPr>
            <a:lvl5pPr marL="1234445" indent="-19812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127409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82AEF2-251C-4849-BF1E-04B2986C96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82AEF2-251C-4849-BF1E-04B2986C9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B75895-D67F-4325-8C51-0DEBB98F8D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1118966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90449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88" y="347414"/>
            <a:ext cx="13987008" cy="8410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4003" y="1188454"/>
            <a:ext cx="13986094" cy="575799"/>
          </a:xfrm>
        </p:spPr>
        <p:txBody>
          <a:bodyPr/>
          <a:lstStyle>
            <a:lvl1pPr marL="0" indent="0" algn="l" defTabSz="10972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0" indent="0" algn="l" defTabSz="10972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2pPr>
            <a:lvl3pPr marL="0" indent="0" algn="l" defTabSz="10972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3pPr>
            <a:lvl4pPr marL="0" indent="0" algn="l" defTabSz="10972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4pPr>
            <a:lvl5pPr marL="0" indent="0" algn="l" defTabSz="10972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24" b="0" kern="1200" cap="none" spc="-120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Segoe U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991466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1423627"/>
            <a:ext cx="11830939" cy="3237586"/>
          </a:xfrm>
          <a:noFill/>
        </p:spPr>
        <p:txBody>
          <a:bodyPr tIns="91440" bIns="91440" anchor="t" anchorCtr="0"/>
          <a:lstStyle>
            <a:lvl1pPr>
              <a:defRPr sz="8470" spc="-11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23088" y="4652733"/>
            <a:ext cx="11832809" cy="215265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4235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97194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438150"/>
            <a:ext cx="12618720" cy="15906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7746" y="2017396"/>
            <a:ext cx="6189344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7746" y="3006090"/>
            <a:ext cx="6189344" cy="44215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06640" y="2017396"/>
            <a:ext cx="6219826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06640" y="3006090"/>
            <a:ext cx="6219826" cy="44215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1920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8" y="1423627"/>
            <a:ext cx="11830939" cy="3237586"/>
          </a:xfrm>
          <a:noFill/>
        </p:spPr>
        <p:txBody>
          <a:bodyPr tIns="91440" bIns="91440" anchor="t" anchorCtr="0"/>
          <a:lstStyle>
            <a:lvl1pPr>
              <a:defRPr lang="en-US" sz="8470" b="0" kern="1200" cap="none" spc="-11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620913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7" y="2501007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70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8278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7" y="2501007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70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34676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87" y="2501007"/>
            <a:ext cx="13984228" cy="13905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8470" spc="-11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8037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516537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05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693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1395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427011"/>
            <a:ext cx="14630400" cy="6802589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58" tIns="54858" rIns="54858" bIns="54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6712" fontAlgn="base">
              <a:spcBef>
                <a:spcPct val="0"/>
              </a:spcBef>
              <a:spcAft>
                <a:spcPct val="0"/>
              </a:spcAft>
            </a:pPr>
            <a:endParaRPr lang="en-US" sz="211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087" y="1436788"/>
            <a:ext cx="13984226" cy="2153129"/>
          </a:xfrm>
        </p:spPr>
        <p:txBody>
          <a:bodyPr/>
          <a:lstStyle>
            <a:lvl1pPr marL="0" indent="0">
              <a:buNone/>
              <a:defRPr sz="3881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40759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68757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95803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23611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5765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323090" y="7404072"/>
            <a:ext cx="13947997" cy="474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215111" tIns="172088" rIns="215111" bIns="172088" numCol="1" anchor="t" anchorCtr="0" compatLnSpc="1">
            <a:prstTxWarp prst="textNoShape">
              <a:avLst/>
            </a:prstTxWarp>
            <a:spAutoFit/>
          </a:bodyPr>
          <a:lstStyle/>
          <a:p>
            <a:pPr defTabSz="1096498" eaLnBrk="0" hangingPunct="0"/>
            <a:r>
              <a:rPr lang="en-US" sz="823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40243" y="3700384"/>
            <a:ext cx="3868633" cy="82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44888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0450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23088" y="1427014"/>
            <a:ext cx="13984228" cy="2875256"/>
          </a:xfrm>
          <a:prstGeom prst="rect">
            <a:avLst/>
          </a:prstGeom>
        </p:spPr>
        <p:txBody>
          <a:bodyPr/>
          <a:lstStyle>
            <a:lvl1pPr marL="341682" indent="-341682">
              <a:buClr>
                <a:schemeClr val="tx1"/>
              </a:buClr>
              <a:buSzPct val="90000"/>
              <a:buFont typeface="Arial" pitchFamily="34" charset="0"/>
              <a:buChar char="•"/>
              <a:defRPr sz="42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72161" indent="-330481">
              <a:buClr>
                <a:schemeClr val="tx1"/>
              </a:buClr>
              <a:buSzPct val="90000"/>
              <a:buFont typeface="Arial" pitchFamily="34" charset="0"/>
              <a:buChar char="•"/>
              <a:defRPr sz="376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13843" indent="-341682">
              <a:buClr>
                <a:schemeClr val="tx1"/>
              </a:buClr>
              <a:buSzPct val="90000"/>
              <a:buFont typeface="Arial" pitchFamily="34" charset="0"/>
              <a:buChar char="•"/>
              <a:defRPr sz="329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282708" indent="-268865">
              <a:buClr>
                <a:schemeClr val="tx1"/>
              </a:buClr>
              <a:buSzPct val="90000"/>
              <a:buFont typeface="Arial" pitchFamily="34" charset="0"/>
              <a:buChar char="•"/>
              <a:defRPr sz="282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551571" indent="-268865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7486652"/>
            <a:ext cx="14630401" cy="7429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4351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52818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362" tIns="175492" rIns="219362" bIns="1754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11832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23" y="7820996"/>
            <a:ext cx="1031906" cy="37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356902"/>
      </p:ext>
    </p:extLst>
  </p:cSld>
  <p:clrMapOvr>
    <a:masterClrMapping/>
  </p:clrMapOvr>
  <p:transition spd="slow">
    <p:push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362" tIns="175492" rIns="219362" bIns="1754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11832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23" y="7820996"/>
            <a:ext cx="1031906" cy="37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35214"/>
      </p:ext>
    </p:extLst>
  </p:cSld>
  <p:clrMapOvr>
    <a:masterClrMapping/>
  </p:clrMapOvr>
  <p:transition spd="slow">
    <p:push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8pt Title/24p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92" y="311750"/>
            <a:ext cx="10757096" cy="2151725"/>
          </a:xfrm>
        </p:spPr>
        <p:txBody>
          <a:bodyPr lIns="146304" tIns="91440" rIns="146304" bIns="91440"/>
          <a:lstStyle>
            <a:lvl1pPr>
              <a:lnSpc>
                <a:spcPts val="7409"/>
              </a:lnSpc>
              <a:defRPr sz="6821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Lorem ipsum dolor sit</a:t>
            </a:r>
            <a:br>
              <a:rPr lang="en-US"/>
            </a:br>
            <a:r>
              <a:rPr lang="en-US"/>
              <a:t>amet, consectetuer adipi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053B7B-3FEA-4297-BF08-0173EEBDAB1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087" y="3361705"/>
            <a:ext cx="9023130" cy="3476381"/>
          </a:xfrm>
        </p:spPr>
        <p:txBody>
          <a:bodyPr/>
          <a:lstStyle>
            <a:lvl1pPr marL="0" indent="0">
              <a:lnSpc>
                <a:spcPts val="3059"/>
              </a:lnSpc>
              <a:spcBef>
                <a:spcPts val="3529"/>
              </a:spcBef>
              <a:buNone/>
              <a:defRPr sz="2824" baseline="0">
                <a:latin typeface="+mn-lt"/>
              </a:defRPr>
            </a:lvl1pPr>
            <a:lvl2pPr marL="0" indent="0">
              <a:lnSpc>
                <a:spcPts val="2118"/>
              </a:lnSpc>
              <a:spcBef>
                <a:spcPts val="1409"/>
              </a:spcBef>
              <a:buNone/>
              <a:defRPr sz="1880"/>
            </a:lvl2pPr>
            <a:lvl3pPr marL="0" indent="0">
              <a:lnSpc>
                <a:spcPts val="2118"/>
              </a:lnSpc>
              <a:spcBef>
                <a:spcPts val="1409"/>
              </a:spcBef>
              <a:buNone/>
              <a:defRPr sz="1880"/>
            </a:lvl3pPr>
            <a:lvl4pPr marL="0" indent="0">
              <a:lnSpc>
                <a:spcPts val="2118"/>
              </a:lnSpc>
              <a:spcBef>
                <a:spcPts val="1409"/>
              </a:spcBef>
              <a:buNone/>
              <a:defRPr sz="1880"/>
            </a:lvl4pPr>
            <a:lvl5pPr marL="0" indent="0">
              <a:lnSpc>
                <a:spcPts val="2118"/>
              </a:lnSpc>
              <a:spcBef>
                <a:spcPts val="1409"/>
              </a:spcBef>
              <a:buNone/>
              <a:defRPr sz="1880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, non laoreet urna. </a:t>
            </a:r>
          </a:p>
          <a:p>
            <a:pPr lvl="0"/>
            <a:r>
              <a:rPr lang="en-US"/>
              <a:t>Aenean porttitor pulvinar lorem, eu accumsan purus mattis nec. Suspendisse eu justo tempus. </a:t>
            </a:r>
          </a:p>
          <a:p>
            <a:pPr lvl="0"/>
            <a:r>
              <a:rPr lang="en-US"/>
              <a:t>Cum sociis natoque penatibus et magnis dis parturient montes, nascetur ridiculus mus.</a:t>
            </a:r>
          </a:p>
        </p:txBody>
      </p:sp>
    </p:spTree>
    <p:extLst>
      <p:ext uri="{BB962C8B-B14F-4D97-AF65-F5344CB8AC3E}">
        <p14:creationId xmlns:p14="http://schemas.microsoft.com/office/powerpoint/2010/main" val="325806983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 bwMode="auto">
          <a:xfrm>
            <a:off x="1040" y="-13023"/>
            <a:ext cx="14628325" cy="11640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78740" fontAlgn="base">
              <a:spcBef>
                <a:spcPct val="0"/>
              </a:spcBef>
              <a:spcAft>
                <a:spcPct val="0"/>
              </a:spcAft>
              <a:buClr>
                <a:srgbClr val="002050"/>
              </a:buClr>
              <a:defRPr/>
            </a:pPr>
            <a:endParaRPr lang="en-US" sz="3294" kern="0">
              <a:solidFill>
                <a:schemeClr val="accent1">
                  <a:lumMod val="75000"/>
                </a:schemeClr>
              </a:solidFill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7167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_Title sub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089" y="2194562"/>
            <a:ext cx="6483618" cy="1735860"/>
          </a:xfrm>
        </p:spPr>
        <p:txBody>
          <a:bodyPr wrap="square">
            <a:spAutoFit/>
          </a:bodyPr>
          <a:lstStyle>
            <a:lvl1pPr marL="0" indent="0">
              <a:spcBef>
                <a:spcPts val="2160"/>
              </a:spcBef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2160">
                <a:solidFill>
                  <a:schemeClr val="accent1"/>
                </a:solidFill>
              </a:defRPr>
            </a:lvl2pPr>
            <a:lvl3pPr marL="0" indent="0">
              <a:buNone/>
              <a:defRPr sz="1920">
                <a:solidFill>
                  <a:schemeClr val="accent1"/>
                </a:solidFill>
              </a:defRPr>
            </a:lvl3pPr>
            <a:lvl4pPr marL="0" indent="0">
              <a:buNone/>
              <a:defRPr sz="1680">
                <a:solidFill>
                  <a:schemeClr val="accent1"/>
                </a:solidFill>
              </a:defRPr>
            </a:lvl4pPr>
            <a:lvl5pPr marL="0" indent="0">
              <a:buNone/>
              <a:defRPr sz="144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88" y="347415"/>
            <a:ext cx="6483617" cy="207017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215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15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solidFill>
                <a:srgbClr val="6821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90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427011"/>
            <a:ext cx="14630400" cy="6802589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6" tIns="54866" rIns="54866" bIns="548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6922" fontAlgn="base">
              <a:spcBef>
                <a:spcPct val="0"/>
              </a:spcBef>
              <a:spcAft>
                <a:spcPct val="0"/>
              </a:spcAft>
            </a:pPr>
            <a:endParaRPr lang="en-US" sz="211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087" y="1436786"/>
            <a:ext cx="13984226" cy="2153129"/>
          </a:xfrm>
        </p:spPr>
        <p:txBody>
          <a:bodyPr/>
          <a:lstStyle>
            <a:lvl1pPr marL="0" indent="0">
              <a:buNone/>
              <a:defRPr sz="388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40767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68770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95821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23635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709485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323089" y="7404071"/>
            <a:ext cx="13947997" cy="47422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215142" tIns="172114" rIns="215142" bIns="172114" numCol="1" anchor="t" anchorCtr="0" compatLnSpc="1">
            <a:prstTxWarp prst="textNoShape">
              <a:avLst/>
            </a:prstTxWarp>
            <a:spAutoFit/>
          </a:bodyPr>
          <a:lstStyle/>
          <a:p>
            <a:pPr defTabSz="1096709" eaLnBrk="0" hangingPunct="0"/>
            <a:r>
              <a:rPr lang="en-US" sz="823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540243" y="3700384"/>
            <a:ext cx="3868633" cy="82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69188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23087" y="1427013"/>
            <a:ext cx="13984228" cy="2875256"/>
          </a:xfrm>
          <a:prstGeom prst="rect">
            <a:avLst/>
          </a:prstGeom>
        </p:spPr>
        <p:txBody>
          <a:bodyPr/>
          <a:lstStyle>
            <a:lvl1pPr marL="341748" indent="-341748">
              <a:buClr>
                <a:schemeClr val="tx1"/>
              </a:buClr>
              <a:buSzPct val="90000"/>
              <a:buFont typeface="Arial" pitchFamily="34" charset="0"/>
              <a:buChar char="•"/>
              <a:defRPr sz="423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72289" indent="-330544">
              <a:buClr>
                <a:schemeClr val="tx1"/>
              </a:buClr>
              <a:buSzPct val="90000"/>
              <a:buFont typeface="Arial" pitchFamily="34" charset="0"/>
              <a:buChar char="•"/>
              <a:defRPr sz="376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14037" indent="-341748">
              <a:buClr>
                <a:schemeClr val="tx1"/>
              </a:buClr>
              <a:buSzPct val="90000"/>
              <a:buFont typeface="Arial" pitchFamily="34" charset="0"/>
              <a:buChar char="•"/>
              <a:defRPr sz="329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282954" indent="-268916">
              <a:buClr>
                <a:schemeClr val="tx1"/>
              </a:buClr>
              <a:buSzPct val="90000"/>
              <a:buFont typeface="Arial" pitchFamily="34" charset="0"/>
              <a:buChar char="•"/>
              <a:defRPr sz="282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551870" indent="-268916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7486652"/>
            <a:ext cx="14630401" cy="7429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4352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6202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5411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394" tIns="175516" rIns="219394" bIns="1755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11853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8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23" y="7820995"/>
            <a:ext cx="1031906" cy="37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82033"/>
      </p:ext>
    </p:extLst>
  </p:cSld>
  <p:clrMapOvr>
    <a:masterClrMapping/>
  </p:clrMapOvr>
  <p:transition spd="slow">
    <p:push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58pt Title/24p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91" y="311750"/>
            <a:ext cx="10757096" cy="2151725"/>
          </a:xfrm>
        </p:spPr>
        <p:txBody>
          <a:bodyPr lIns="146304" tIns="91440" rIns="146304" bIns="91440"/>
          <a:lstStyle>
            <a:lvl1pPr>
              <a:lnSpc>
                <a:spcPts val="7410"/>
              </a:lnSpc>
              <a:defRPr sz="6822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Lorem ipsum dolor sit</a:t>
            </a:r>
            <a:br>
              <a:rPr lang="en-US"/>
            </a:br>
            <a:r>
              <a:rPr lang="en-US"/>
              <a:t>amet, consectetuer adipi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5053B7B-3FEA-4297-BF08-0173EEBDAB1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087" y="3361705"/>
            <a:ext cx="9023130" cy="3476381"/>
          </a:xfrm>
        </p:spPr>
        <p:txBody>
          <a:bodyPr/>
          <a:lstStyle>
            <a:lvl1pPr marL="0" indent="0">
              <a:lnSpc>
                <a:spcPts val="3059"/>
              </a:lnSpc>
              <a:spcBef>
                <a:spcPts val="3529"/>
              </a:spcBef>
              <a:buNone/>
              <a:defRPr sz="2824" baseline="0">
                <a:latin typeface="+mn-lt"/>
              </a:defRPr>
            </a:lvl1pPr>
            <a:lvl2pPr marL="0" indent="0">
              <a:lnSpc>
                <a:spcPts val="2118"/>
              </a:lnSpc>
              <a:spcBef>
                <a:spcPts val="1410"/>
              </a:spcBef>
              <a:buNone/>
              <a:defRPr sz="1880"/>
            </a:lvl2pPr>
            <a:lvl3pPr marL="0" indent="0">
              <a:lnSpc>
                <a:spcPts val="2118"/>
              </a:lnSpc>
              <a:spcBef>
                <a:spcPts val="1410"/>
              </a:spcBef>
              <a:buNone/>
              <a:defRPr sz="1880"/>
            </a:lvl3pPr>
            <a:lvl4pPr marL="0" indent="0">
              <a:lnSpc>
                <a:spcPts val="2118"/>
              </a:lnSpc>
              <a:spcBef>
                <a:spcPts val="1410"/>
              </a:spcBef>
              <a:buNone/>
              <a:defRPr sz="1880"/>
            </a:lvl4pPr>
            <a:lvl5pPr marL="0" indent="0">
              <a:lnSpc>
                <a:spcPts val="2118"/>
              </a:lnSpc>
              <a:spcBef>
                <a:spcPts val="1410"/>
              </a:spcBef>
              <a:buNone/>
              <a:defRPr sz="1880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, non laoreet urna. </a:t>
            </a:r>
          </a:p>
          <a:p>
            <a:pPr lvl="0"/>
            <a:r>
              <a:rPr lang="en-US"/>
              <a:t>Aenean porttitor pulvinar lorem, eu accumsan purus mattis nec. Suspendisse eu justo tempus. </a:t>
            </a:r>
          </a:p>
          <a:p>
            <a:pPr lvl="0"/>
            <a:r>
              <a:rPr lang="en-US"/>
              <a:t>Cum sociis natoque penatibus et magnis dis parturient montes, nascetur ridiculus mus.</a:t>
            </a:r>
          </a:p>
        </p:txBody>
      </p:sp>
    </p:spTree>
    <p:extLst>
      <p:ext uri="{BB962C8B-B14F-4D97-AF65-F5344CB8AC3E}">
        <p14:creationId xmlns:p14="http://schemas.microsoft.com/office/powerpoint/2010/main" val="29259792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61260" y="242049"/>
            <a:ext cx="12279085" cy="391108"/>
          </a:xfrm>
        </p:spPr>
        <p:txBody>
          <a:bodyPr/>
          <a:lstStyle/>
          <a:p>
            <a:r>
              <a:rPr lang="en-US" sz="2540">
                <a:solidFill>
                  <a:schemeClr val="tx1"/>
                </a:solidFill>
              </a:rPr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3344266" y="7983784"/>
            <a:ext cx="946673" cy="13196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lnSpc>
                <a:spcPct val="90000"/>
              </a:lnSpc>
              <a:defRPr sz="953">
                <a:solidFill>
                  <a:schemeClr val="tx1"/>
                </a:solidFill>
              </a:defRPr>
            </a:lvl1pPr>
          </a:lstStyle>
          <a:p>
            <a:fld id="{25053B7B-3FEA-4297-BF08-0173EEBDAB10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120170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 bwMode="auto">
          <a:xfrm>
            <a:off x="1039" y="-13023"/>
            <a:ext cx="14628325" cy="11640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78986" fontAlgn="base">
              <a:spcBef>
                <a:spcPct val="0"/>
              </a:spcBef>
              <a:spcAft>
                <a:spcPct val="0"/>
              </a:spcAft>
              <a:buClr>
                <a:srgbClr val="002050"/>
              </a:buClr>
              <a:defRPr/>
            </a:pPr>
            <a:endParaRPr lang="en-US" sz="3294" kern="0">
              <a:solidFill>
                <a:schemeClr val="accent1">
                  <a:lumMod val="75000"/>
                </a:schemeClr>
              </a:solidFill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5214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23088" y="1427012"/>
            <a:ext cx="13987008" cy="228485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  <a:lvl2pPr marL="33614" indent="0">
              <a:buNone/>
              <a:defRPr sz="2353"/>
            </a:lvl2pPr>
            <a:lvl3pPr marL="263314" indent="0">
              <a:buNone/>
              <a:defRPr sz="2353"/>
            </a:lvl3pPr>
            <a:lvl4pPr marL="560242" indent="0">
              <a:buNone/>
              <a:defRPr sz="2118"/>
            </a:lvl4pPr>
            <a:lvl5pPr marL="870241" indent="0">
              <a:buNone/>
              <a:defRPr sz="21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170759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8pt Title/26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090" y="311750"/>
            <a:ext cx="10757096" cy="1291061"/>
          </a:xfrm>
        </p:spPr>
        <p:txBody>
          <a:bodyPr lIns="146304" tIns="91440" rIns="146304" bIns="91440"/>
          <a:lstStyle>
            <a:lvl1pPr>
              <a:lnSpc>
                <a:spcPts val="7411"/>
              </a:lnSpc>
              <a:defRPr sz="6823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097240">
              <a:defRPr/>
            </a:pPr>
            <a:r>
              <a:rPr lang="en-US" sz="1058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27258FFF-F925-446B-8502-81C933981705}" type="slidenum">
              <a:rPr lang="en-US" sz="1058" smtClean="0">
                <a:solidFill>
                  <a:srgbClr val="505050"/>
                </a:solidFill>
              </a:rPr>
              <a:pPr algn="r">
                <a:defRPr/>
              </a:pPr>
              <a:t>‹N›</a:t>
            </a:fld>
            <a:endParaRPr lang="en-US" sz="1058">
              <a:solidFill>
                <a:srgbClr val="50505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087" y="2501008"/>
            <a:ext cx="10757098" cy="2890728"/>
          </a:xfrm>
        </p:spPr>
        <p:txBody>
          <a:bodyPr/>
          <a:lstStyle>
            <a:lvl1pPr marL="274519" indent="-274519">
              <a:spcBef>
                <a:spcPts val="1411"/>
              </a:spcBef>
              <a:defRPr sz="3059">
                <a:latin typeface="+mn-lt"/>
              </a:defRPr>
            </a:lvl1pPr>
            <a:lvl2pPr marL="812351" indent="-274519">
              <a:spcBef>
                <a:spcPts val="1411"/>
              </a:spcBef>
              <a:buSzPct val="100000"/>
              <a:buFont typeface="Segoe UI" pitchFamily="34" charset="0"/>
              <a:buChar char="‐"/>
              <a:defRPr/>
            </a:lvl2pPr>
            <a:lvl3pPr marL="1350182" indent="-274519">
              <a:spcBef>
                <a:spcPts val="1411"/>
              </a:spcBef>
              <a:buFont typeface="Wingdings" pitchFamily="2" charset="2"/>
              <a:buChar char="§"/>
              <a:defRPr/>
            </a:lvl3pPr>
            <a:lvl4pPr marL="1882411" indent="-403374">
              <a:spcBef>
                <a:spcPts val="1411"/>
              </a:spcBef>
              <a:buFont typeface="+mj-lt"/>
              <a:buAutoNum type="arabicPeriod"/>
              <a:defRPr/>
            </a:lvl4pPr>
            <a:lvl5pPr marL="2289520" indent="-403374">
              <a:spcBef>
                <a:spcPts val="1411"/>
              </a:spcBef>
              <a:buFont typeface="+mj-lt"/>
              <a:buAutoNum type="alphaLcParenR"/>
              <a:defRPr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851705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714" y="349323"/>
            <a:ext cx="13984601" cy="1075822"/>
          </a:xfrm>
        </p:spPr>
        <p:txBody>
          <a:bodyPr/>
          <a:lstStyle>
            <a:lvl1pPr>
              <a:defRPr sz="6823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23087" y="1996726"/>
            <a:ext cx="12908518" cy="2238383"/>
          </a:xfrm>
        </p:spPr>
        <p:txBody>
          <a:bodyPr/>
          <a:lstStyle>
            <a:lvl1pPr>
              <a:defRPr sz="30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824"/>
            </a:lvl2pPr>
            <a:lvl3pPr>
              <a:defRPr sz="2353"/>
            </a:lvl3pPr>
            <a:lvl4pPr>
              <a:defRPr sz="2118"/>
            </a:lvl4pPr>
            <a:lvl5pPr>
              <a:defRPr sz="21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8287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4A739-FCFF-40D8-B420-9D5D9DF9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C6B2E-9F65-458C-8DE2-673C38A5DA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477C8-543E-44FB-8AA6-B00FA03EB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44F33-B68D-41B4-AF8C-9CAC6FD7D3B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F1FE3B-3D4E-4D53-9924-A7DE37086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B1C059-EF6F-49A9-A014-3FF77A013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01EB9C-9CA1-48DE-B142-A4BB844D773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948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Sta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79FFEB9-2BE6-4DB6-8DCA-DBA500633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E39216E-F59B-4BC9-B7CE-10A9447E20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716" y="0"/>
            <a:ext cx="14602968" cy="8229600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0244" y="7342977"/>
            <a:ext cx="1504052" cy="32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191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9826" y="1184911"/>
            <a:ext cx="740664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096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219826" y="1184911"/>
            <a:ext cx="7406640" cy="584835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159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5840" y="7627621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84F08C-6F01-6A4C-B294-3ECE791EB5DB}" type="datetimeFigureOut">
              <a:rPr lang="en-US" smtClean="0"/>
              <a:t>3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6320" y="7627621"/>
            <a:ext cx="4937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980BC9-D4EE-6645-92F8-1E303DC3E82D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09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088" y="347414"/>
            <a:ext cx="13987008" cy="107959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23090" y="1427013"/>
            <a:ext cx="13984225" cy="21980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1050498" y="3589240"/>
            <a:ext cx="8230348" cy="1051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85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  <p:sldLayoutId id="2147483734" r:id="rId62"/>
    <p:sldLayoutId id="2147483735" r:id="rId63"/>
    <p:sldLayoutId id="2147483736" r:id="rId64"/>
    <p:sldLayoutId id="2147483737" r:id="rId65"/>
    <p:sldLayoutId id="2147483738" r:id="rId66"/>
    <p:sldLayoutId id="2147483739" r:id="rId67"/>
  </p:sldLayoutIdLst>
  <p:transition>
    <p:fade/>
  </p:transition>
  <p:txStyles>
    <p:titleStyle>
      <a:lvl1pPr algn="l" defTabSz="1097240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2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403374" marR="0" indent="-403374" algn="l" defTabSz="109724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23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687229" marR="0" indent="-283855" algn="l" defTabSz="109724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1206" marR="0" indent="-268916" algn="l" defTabSz="109724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1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10122" marR="0" indent="-268916" algn="l" defTabSz="109724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8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79037" marR="0" indent="-268916" algn="l" defTabSz="109724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8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3017411" indent="-274310" algn="l" defTabSz="1097240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66032" indent="-274310" algn="l" defTabSz="1097240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114652" indent="-274310" algn="l" defTabSz="1097240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63273" indent="-274310" algn="l" defTabSz="1097240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1pPr>
      <a:lvl2pPr marL="548620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2pPr>
      <a:lvl3pPr marL="1097240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3pPr>
      <a:lvl4pPr marL="1645860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4pPr>
      <a:lvl5pPr marL="2194481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5pPr>
      <a:lvl6pPr marL="2743102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6pPr>
      <a:lvl7pPr marL="3291721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7pPr>
      <a:lvl8pPr marL="3840341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8pPr>
      <a:lvl9pPr marL="4388963" algn="l" defTabSz="1097240" rtl="0" eaLnBrk="1" latinLnBrk="0" hangingPunct="1">
        <a:defRPr sz="21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mp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spnet/core/fundamentals/host/generic-host" TargetMode="External"/><Relationship Id="rId7" Type="http://schemas.openxmlformats.org/officeDocument/2006/relationships/hyperlink" Target="https://github.com/App-vNext/Polly" TargetMode="External"/><Relationship Id="rId2" Type="http://schemas.openxmlformats.org/officeDocument/2006/relationships/hyperlink" Target="https://github.com/marcominerva/XamarinNetCore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docs.microsoft.com/en-us/aspnet/core/fundamentals/http-requests" TargetMode="External"/><Relationship Id="rId5" Type="http://schemas.openxmlformats.org/officeDocument/2006/relationships/hyperlink" Target="https://docs.microsoft.com/en-us/aspnet/core/fundamentals/logging" TargetMode="External"/><Relationship Id="rId4" Type="http://schemas.openxmlformats.org/officeDocument/2006/relationships/hyperlink" Target="https://docs.microsoft.com/en-us/aspnet/core/fundamentals/dependency-injection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A566AC62-BA36-48FA-B116-E7217B52C5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2782" y="4652727"/>
            <a:ext cx="7078417" cy="2153593"/>
          </a:xfrm>
        </p:spPr>
        <p:txBody>
          <a:bodyPr/>
          <a:lstStyle/>
          <a:p>
            <a:r>
              <a:rPr lang="en-US" dirty="0"/>
              <a:t>Marco Minerva</a:t>
            </a:r>
          </a:p>
          <a:p>
            <a:r>
              <a:rPr lang="en-US" dirty="0"/>
              <a:t>Microsoft MVP</a:t>
            </a:r>
          </a:p>
          <a:p>
            <a:r>
              <a:rPr lang="en-US" dirty="0"/>
              <a:t>https://about.me/marcominerva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269E3835-D53C-4C05-8731-D16BE56F9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Xamarin ♥ .NET Cor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C466F9E-761A-47ED-921E-9A444DF016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162" y="4791321"/>
            <a:ext cx="929621" cy="1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1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60" y="3989410"/>
            <a:ext cx="13532206" cy="153619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49" y="3994099"/>
            <a:ext cx="13532206" cy="15361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90" y="3994099"/>
            <a:ext cx="13532206" cy="15361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90" y="3994099"/>
            <a:ext cx="13532206" cy="15361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90" y="3994099"/>
            <a:ext cx="13532206" cy="15361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79" y="3994099"/>
            <a:ext cx="13532206" cy="15361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90" y="3992288"/>
            <a:ext cx="13532206" cy="1536192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31009" y="2278965"/>
            <a:ext cx="1997612" cy="1997612"/>
            <a:chOff x="337625" y="1899137"/>
            <a:chExt cx="1664677" cy="1664677"/>
          </a:xfrm>
          <a:solidFill>
            <a:srgbClr val="002060"/>
          </a:solidFill>
        </p:grpSpPr>
        <p:sp>
          <p:nvSpPr>
            <p:cNvPr id="24" name="Rectangle 23"/>
            <p:cNvSpPr/>
            <p:nvPr/>
          </p:nvSpPr>
          <p:spPr bwMode="auto">
            <a:xfrm>
              <a:off x="337625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269" y="1990251"/>
              <a:ext cx="1037844" cy="1062990"/>
            </a:xfrm>
            <a:prstGeom prst="rect">
              <a:avLst/>
            </a:prstGeom>
            <a:grpFill/>
          </p:spPr>
        </p:pic>
        <p:sp>
          <p:nvSpPr>
            <p:cNvPr id="17" name="TextBox 16"/>
            <p:cNvSpPr txBox="1"/>
            <p:nvPr/>
          </p:nvSpPr>
          <p:spPr>
            <a:xfrm>
              <a:off x="344033" y="3143061"/>
              <a:ext cx="1620528" cy="18007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DESKTOP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325028" y="2278965"/>
            <a:ext cx="2000267" cy="1997612"/>
            <a:chOff x="1999308" y="1899137"/>
            <a:chExt cx="1666889" cy="1664677"/>
          </a:xfrm>
        </p:grpSpPr>
        <p:sp>
          <p:nvSpPr>
            <p:cNvPr id="25" name="Rectangle 24"/>
            <p:cNvSpPr/>
            <p:nvPr/>
          </p:nvSpPr>
          <p:spPr bwMode="auto">
            <a:xfrm>
              <a:off x="2001520" y="1899137"/>
              <a:ext cx="1664677" cy="1664677"/>
            </a:xfrm>
            <a:prstGeom prst="rect">
              <a:avLst/>
            </a:prstGeom>
            <a:solidFill>
              <a:srgbClr val="FFB9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1452" y="1981200"/>
              <a:ext cx="969264" cy="1062990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1999308" y="3143061"/>
              <a:ext cx="1665837" cy="180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WEB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311359" y="2278965"/>
            <a:ext cx="2010610" cy="1997612"/>
            <a:chOff x="3654584" y="1899137"/>
            <a:chExt cx="1675508" cy="1664677"/>
          </a:xfrm>
        </p:grpSpPr>
        <p:sp>
          <p:nvSpPr>
            <p:cNvPr id="26" name="Rectangle 25"/>
            <p:cNvSpPr/>
            <p:nvPr/>
          </p:nvSpPr>
          <p:spPr bwMode="auto">
            <a:xfrm>
              <a:off x="3665415" y="1899137"/>
              <a:ext cx="1664677" cy="1664677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4590" y="1990253"/>
              <a:ext cx="1003554" cy="1062990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3654584" y="3143061"/>
              <a:ext cx="1665837" cy="180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CLOUD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321031" y="2278965"/>
            <a:ext cx="1997612" cy="1997612"/>
            <a:chOff x="5329310" y="1899137"/>
            <a:chExt cx="1664677" cy="1664677"/>
          </a:xfrm>
          <a:solidFill>
            <a:srgbClr val="9B4F96"/>
          </a:solidFill>
        </p:grpSpPr>
        <p:sp>
          <p:nvSpPr>
            <p:cNvPr id="27" name="Rectangle 26"/>
            <p:cNvSpPr/>
            <p:nvPr/>
          </p:nvSpPr>
          <p:spPr bwMode="auto">
            <a:xfrm>
              <a:off x="5329310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2828" y="1990253"/>
              <a:ext cx="688086" cy="1062990"/>
            </a:xfrm>
            <a:prstGeom prst="rect">
              <a:avLst/>
            </a:prstGeom>
            <a:grpFill/>
          </p:spPr>
        </p:pic>
        <p:sp>
          <p:nvSpPr>
            <p:cNvPr id="20" name="TextBox 19"/>
            <p:cNvSpPr txBox="1"/>
            <p:nvPr/>
          </p:nvSpPr>
          <p:spPr>
            <a:xfrm>
              <a:off x="5355169" y="3143061"/>
              <a:ext cx="1620528" cy="18007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MOBILE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8317705" y="2278965"/>
            <a:ext cx="1997612" cy="1997612"/>
            <a:chOff x="6993205" y="1899137"/>
            <a:chExt cx="1664677" cy="1664677"/>
          </a:xfrm>
          <a:solidFill>
            <a:srgbClr val="BAD80A"/>
          </a:solidFill>
        </p:grpSpPr>
        <p:sp>
          <p:nvSpPr>
            <p:cNvPr id="28" name="Rectangle 27"/>
            <p:cNvSpPr/>
            <p:nvPr/>
          </p:nvSpPr>
          <p:spPr bwMode="auto">
            <a:xfrm>
              <a:off x="6993205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1804" y="1990253"/>
              <a:ext cx="969264" cy="1062990"/>
            </a:xfrm>
            <a:prstGeom prst="rect">
              <a:avLst/>
            </a:prstGeom>
            <a:grpFill/>
          </p:spPr>
        </p:pic>
        <p:sp>
          <p:nvSpPr>
            <p:cNvPr id="21" name="TextBox 20"/>
            <p:cNvSpPr txBox="1"/>
            <p:nvPr/>
          </p:nvSpPr>
          <p:spPr>
            <a:xfrm>
              <a:off x="7010445" y="3143061"/>
              <a:ext cx="1620528" cy="18007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GAMING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0270353" y="2278965"/>
            <a:ext cx="2041638" cy="1997612"/>
            <a:chOff x="8620412" y="1899137"/>
            <a:chExt cx="1701365" cy="1664677"/>
          </a:xfrm>
        </p:grpSpPr>
        <p:sp>
          <p:nvSpPr>
            <p:cNvPr id="29" name="Rectangle 28"/>
            <p:cNvSpPr/>
            <p:nvPr/>
          </p:nvSpPr>
          <p:spPr bwMode="auto">
            <a:xfrm>
              <a:off x="8657100" y="1899137"/>
              <a:ext cx="1664677" cy="1664677"/>
            </a:xfrm>
            <a:prstGeom prst="rect">
              <a:avLst/>
            </a:prstGeom>
            <a:solidFill>
              <a:srgbClr val="00829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6689" y="1981200"/>
              <a:ext cx="907542" cy="106299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8620412" y="3143061"/>
              <a:ext cx="1665837" cy="180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IoT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2311055" y="2278965"/>
            <a:ext cx="1997612" cy="1997612"/>
            <a:chOff x="10320997" y="1899137"/>
            <a:chExt cx="1664677" cy="1664677"/>
          </a:xfrm>
          <a:solidFill>
            <a:srgbClr val="FF0000"/>
          </a:solidFill>
        </p:grpSpPr>
        <p:sp>
          <p:nvSpPr>
            <p:cNvPr id="30" name="Rectangle 29"/>
            <p:cNvSpPr/>
            <p:nvPr/>
          </p:nvSpPr>
          <p:spPr bwMode="auto">
            <a:xfrm>
              <a:off x="10320997" y="1899137"/>
              <a:ext cx="1664677" cy="166467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" tIns="175565" rIns="219456" bIns="17556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1896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88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0773" y="1981200"/>
              <a:ext cx="934974" cy="1062990"/>
            </a:xfrm>
            <a:prstGeom prst="rect">
              <a:avLst/>
            </a:prstGeom>
            <a:grpFill/>
          </p:spPr>
        </p:pic>
        <p:sp>
          <p:nvSpPr>
            <p:cNvPr id="23" name="TextBox 22"/>
            <p:cNvSpPr txBox="1"/>
            <p:nvPr/>
          </p:nvSpPr>
          <p:spPr>
            <a:xfrm>
              <a:off x="10356525" y="3143061"/>
              <a:ext cx="1585000" cy="18007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20"/>
                </a:spcAft>
                <a:defRPr/>
              </a:pPr>
              <a:r>
                <a:rPr lang="en-US" sz="1560">
                  <a:solidFill>
                    <a:srgbClr val="FFFFFF"/>
                  </a:solidFill>
                  <a:latin typeface="Segoe UI Semibold" panose="020B0702040204020203" pitchFamily="34" charset="0"/>
                </a:rPr>
                <a:t>AI</a:t>
              </a: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6333189" y="5114105"/>
            <a:ext cx="1997050" cy="1997050"/>
          </a:xfrm>
          <a:prstGeom prst="rect">
            <a:avLst/>
          </a:prstGeom>
          <a:solidFill>
            <a:srgbClr val="7030A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720"/>
              </a:spcAft>
              <a:defRPr/>
            </a:pPr>
            <a:r>
              <a:rPr lang="en-US" sz="6396">
                <a:solidFill>
                  <a:srgbClr val="FFFFFF"/>
                </a:solidFill>
                <a:latin typeface="Segoe UI Light"/>
              </a:rPr>
              <a:t>.NET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19AFE05D-9736-471E-B5D2-207940914560}"/>
              </a:ext>
            </a:extLst>
          </p:cNvPr>
          <p:cNvSpPr txBox="1">
            <a:spLocks/>
          </p:cNvSpPr>
          <p:nvPr/>
        </p:nvSpPr>
        <p:spPr>
          <a:xfrm>
            <a:off x="0" y="160412"/>
            <a:ext cx="14630400" cy="1316646"/>
          </a:xfrm>
          <a:prstGeom prst="rect">
            <a:avLst/>
          </a:prstGeom>
        </p:spPr>
        <p:txBody>
          <a:bodyPr lIns="175314" tIns="10957" rIns="175314" bIns="10957" anchor="b" anchorCtr="0"/>
          <a:lstStyle>
            <a:lvl1pPr marL="0" indent="0" algn="l" defTabSz="91436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60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1095666">
              <a:defRPr/>
            </a:pPr>
            <a:r>
              <a:rPr lang="en-US" sz="6400" spc="-120">
                <a:solidFill>
                  <a:schemeClr val="tx1"/>
                </a:solidFill>
                <a:latin typeface="Segoe UI Light"/>
              </a:rPr>
              <a:t>Your platform for building </a:t>
            </a:r>
            <a:r>
              <a:rPr lang="en-US" sz="6400" spc="-120">
                <a:solidFill>
                  <a:schemeClr val="tx1"/>
                </a:solidFill>
                <a:latin typeface="Segoe UI Semibold" panose="020B0702040204020203" pitchFamily="34" charset="0"/>
              </a:rPr>
              <a:t>anything</a:t>
            </a:r>
          </a:p>
        </p:txBody>
      </p:sp>
    </p:spTree>
    <p:extLst>
      <p:ext uri="{BB962C8B-B14F-4D97-AF65-F5344CB8AC3E}">
        <p14:creationId xmlns:p14="http://schemas.microsoft.com/office/powerpoint/2010/main" val="226253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2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25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7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2BC61947-F2AF-4DDD-8FC9-B4792C3BD2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4737964"/>
          </a:xfrm>
        </p:spPr>
        <p:txBody>
          <a:bodyPr/>
          <a:lstStyle/>
          <a:p>
            <a:r>
              <a:rPr lang="en-US" dirty="0"/>
              <a:t>We can use its built-in features on every platform</a:t>
            </a:r>
          </a:p>
          <a:p>
            <a:pPr lvl="1"/>
            <a:r>
              <a:rPr lang="en-US" sz="3200" dirty="0"/>
              <a:t>Dependency Injection</a:t>
            </a:r>
          </a:p>
          <a:p>
            <a:pPr lvl="1"/>
            <a:r>
              <a:rPr lang="en-US" sz="3200" dirty="0"/>
              <a:t>Inversion of Control</a:t>
            </a:r>
          </a:p>
          <a:p>
            <a:pPr lvl="1"/>
            <a:r>
              <a:rPr lang="en-US" sz="3200" dirty="0"/>
              <a:t>Configuration</a:t>
            </a:r>
          </a:p>
          <a:p>
            <a:pPr lvl="1"/>
            <a:r>
              <a:rPr lang="en-US" sz="3200" dirty="0"/>
              <a:t>Logging</a:t>
            </a:r>
          </a:p>
          <a:p>
            <a:pPr lvl="1"/>
            <a:r>
              <a:rPr lang="en-US" sz="3200" dirty="0" err="1"/>
              <a:t>HttpClientFactory</a:t>
            </a:r>
            <a:r>
              <a:rPr lang="en-US" sz="3200" dirty="0"/>
              <a:t> support</a:t>
            </a:r>
          </a:p>
          <a:p>
            <a:pPr lvl="1"/>
            <a:r>
              <a:rPr lang="en-US" sz="3200" dirty="0"/>
              <a:t>...</a:t>
            </a:r>
          </a:p>
          <a:p>
            <a:r>
              <a:rPr lang="en-US" dirty="0" err="1"/>
              <a:t>HostBuilder</a:t>
            </a:r>
            <a:r>
              <a:rPr lang="en-US" dirty="0"/>
              <a:t> is the key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704D0F4A-8E9E-400D-89F6-69E977833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4400" dirty="0"/>
              <a:t>.NET Core 3 </a:t>
            </a:r>
            <a:r>
              <a:rPr lang="it-IT" sz="4400" dirty="0" err="1"/>
              <a:t>runs</a:t>
            </a:r>
            <a:r>
              <a:rPr lang="it-IT" sz="4400" dirty="0"/>
              <a:t> </a:t>
            </a:r>
            <a:r>
              <a:rPr lang="it-IT" sz="4400" dirty="0" err="1"/>
              <a:t>everywhe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62138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71FE973A-7CD4-4555-A54A-C86BBCD251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637469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ill .NET Core 2.2, </a:t>
            </a:r>
            <a:r>
              <a:rPr lang="en-US" dirty="0" err="1"/>
              <a:t>HostBuilder</a:t>
            </a:r>
            <a:r>
              <a:rPr lang="en-US" dirty="0"/>
              <a:t> was available only for ASP.NET Core </a:t>
            </a:r>
            <a:r>
              <a:rPr lang="en-US" dirty="0" err="1"/>
              <a:t>worload</a:t>
            </a:r>
            <a:endParaRPr lang="en-US" dirty="0"/>
          </a:p>
          <a:p>
            <a:r>
              <a:rPr lang="en-US" dirty="0"/>
              <a:t>Now we can use it on every platform</a:t>
            </a:r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EE7DC06E-FC5A-434D-9AD5-420F43DC8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HostBuilder</a:t>
            </a:r>
            <a:r>
              <a:rPr lang="it-IT" dirty="0"/>
              <a:t> with ASP.NET Core</a:t>
            </a:r>
          </a:p>
        </p:txBody>
      </p:sp>
      <p:pic>
        <p:nvPicPr>
          <p:cNvPr id="5" name="Immagine 4" descr="Immagine che contiene screenshot&#10;&#10;Descrizione generata automaticamente">
            <a:extLst>
              <a:ext uri="{FF2B5EF4-FFF2-40B4-BE49-F238E27FC236}">
                <a16:creationId xmlns:a16="http://schemas.microsoft.com/office/drawing/2014/main" id="{4CEC7995-82C1-4A38-BC34-1C25DFC982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6522" y="1427012"/>
            <a:ext cx="6881456" cy="3452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3436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3B3D271-68E8-4D8C-BB74-D63FF336B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m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C720681-B1E6-4AFC-A22D-259E9E28AF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 err="1"/>
              <a:t>HostBuilder</a:t>
            </a:r>
            <a:r>
              <a:rPr lang="it-IT" dirty="0"/>
              <a:t> with </a:t>
            </a:r>
            <a:r>
              <a:rPr lang="it-IT" dirty="0" err="1"/>
              <a:t>Xamarin.Form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7085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E1DF07B7-884F-442A-BC7B-5E939FDF85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5132815"/>
          </a:xfrm>
        </p:spPr>
        <p:txBody>
          <a:bodyPr/>
          <a:lstStyle/>
          <a:p>
            <a:r>
              <a:rPr lang="en-US" dirty="0" err="1"/>
              <a:t>HttpClient</a:t>
            </a:r>
            <a:r>
              <a:rPr lang="en-US" dirty="0"/>
              <a:t> often isn’t properly used</a:t>
            </a:r>
          </a:p>
          <a:p>
            <a:pPr lvl="1"/>
            <a:r>
              <a:rPr lang="en-US" sz="3200" dirty="0"/>
              <a:t>When disposed, the underlying socket is not immediately released</a:t>
            </a:r>
          </a:p>
          <a:p>
            <a:pPr lvl="1"/>
            <a:r>
              <a:rPr lang="en-US" sz="3200" dirty="0"/>
              <a:t>If used as singleton, it fails to handle DNS changes</a:t>
            </a:r>
          </a:p>
          <a:p>
            <a:r>
              <a:rPr lang="en-US" dirty="0" err="1"/>
              <a:t>HttpClientFactory</a:t>
            </a:r>
            <a:r>
              <a:rPr lang="en-US" dirty="0"/>
              <a:t> allows to create </a:t>
            </a:r>
            <a:r>
              <a:rPr lang="en-US" dirty="0" err="1"/>
              <a:t>HttpClient</a:t>
            </a:r>
            <a:r>
              <a:rPr lang="en-US" dirty="0"/>
              <a:t> instances</a:t>
            </a:r>
          </a:p>
          <a:p>
            <a:pPr lvl="1"/>
            <a:r>
              <a:rPr lang="en-US" sz="3200" dirty="0"/>
              <a:t>It handles lifetimes, caching, logging, …</a:t>
            </a:r>
          </a:p>
          <a:p>
            <a:r>
              <a:rPr lang="en-US" dirty="0"/>
              <a:t>Can be combined with Polly for resilience and </a:t>
            </a:r>
            <a:r>
              <a:rPr lang="it-IT" dirty="0"/>
              <a:t>and </a:t>
            </a:r>
            <a:r>
              <a:rPr lang="it-IT" dirty="0" err="1"/>
              <a:t>transient</a:t>
            </a:r>
            <a:r>
              <a:rPr lang="it-IT" dirty="0"/>
              <a:t>-fault-</a:t>
            </a:r>
            <a:r>
              <a:rPr lang="it-IT" dirty="0" err="1"/>
              <a:t>handling</a:t>
            </a:r>
            <a:endParaRPr lang="en-US" dirty="0"/>
          </a:p>
          <a:p>
            <a:endParaRPr lang="it-IT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B39D1148-13D7-4FDF-9E44-8454E58B9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HttpClientFactory</a:t>
            </a:r>
            <a:endParaRPr lang="it-IT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8264230B-DFE4-4671-A3C1-6991717BD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378" y="5130799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1378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3B3D271-68E8-4D8C-BB74-D63FF336B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m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C720681-B1E6-4AFC-A22D-259E9E28AF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 err="1"/>
              <a:t>HttpClientFactory</a:t>
            </a:r>
            <a:r>
              <a:rPr lang="it-IT" dirty="0"/>
              <a:t> with </a:t>
            </a:r>
            <a:r>
              <a:rPr lang="it-IT" dirty="0" err="1"/>
              <a:t>Xamarin.Form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1563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700E609F-5121-4BF6-A7E6-B558083306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088" y="1427012"/>
            <a:ext cx="13984228" cy="4222694"/>
          </a:xfrm>
        </p:spPr>
        <p:txBody>
          <a:bodyPr/>
          <a:lstStyle/>
          <a:p>
            <a:r>
              <a:rPr lang="it-IT" sz="3200" dirty="0">
                <a:hlinkClick r:id="rId2"/>
              </a:rPr>
              <a:t>https://github.com/marcominerva/XamarinNetCore</a:t>
            </a:r>
            <a:endParaRPr lang="it-IT" sz="3200" dirty="0"/>
          </a:p>
          <a:p>
            <a:r>
              <a:rPr lang="it-IT" sz="3200" dirty="0">
                <a:hlinkClick r:id="rId3"/>
              </a:rPr>
              <a:t>https://docs.microsoft.com/en-us/aspnet/core/fundamentals/host/generic-host</a:t>
            </a:r>
            <a:endParaRPr lang="it-IT" sz="3200" dirty="0"/>
          </a:p>
          <a:p>
            <a:r>
              <a:rPr lang="it-IT" sz="3200" dirty="0">
                <a:hlinkClick r:id="rId4"/>
              </a:rPr>
              <a:t>https://docs.microsoft.com/en-us/aspnet/core/fundamentals/dependency-injection</a:t>
            </a:r>
            <a:endParaRPr lang="it-IT" sz="3200" dirty="0"/>
          </a:p>
          <a:p>
            <a:r>
              <a:rPr lang="it-IT" sz="3200" dirty="0">
                <a:hlinkClick r:id="rId5"/>
              </a:rPr>
              <a:t>https://docs.microsoft.com/en-us/aspnet/core/fundamentals/logging</a:t>
            </a:r>
            <a:endParaRPr lang="it-IT" sz="3200" dirty="0"/>
          </a:p>
          <a:p>
            <a:r>
              <a:rPr lang="it-IT" sz="3200" dirty="0">
                <a:hlinkClick r:id="rId6"/>
              </a:rPr>
              <a:t>https://docs.microsoft.com/en-us/aspnet/core/fundamentals/http-requests</a:t>
            </a:r>
            <a:endParaRPr lang="it-IT" sz="3200" dirty="0"/>
          </a:p>
          <a:p>
            <a:r>
              <a:rPr lang="it-IT" sz="3200" dirty="0">
                <a:hlinkClick r:id="rId7"/>
              </a:rPr>
              <a:t>https://github.com/App-vNext/Polly</a:t>
            </a:r>
            <a:endParaRPr lang="it-IT" sz="3200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1562E2EF-10BD-42F8-B72C-244A14A1D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Resourc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4197533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CAC22C0-6BCA-D84A-86B4-0C16CDB419F0}"/>
              </a:ext>
            </a:extLst>
          </p:cNvPr>
          <p:cNvSpPr txBox="1"/>
          <p:nvPr/>
        </p:nvSpPr>
        <p:spPr>
          <a:xfrm>
            <a:off x="685800" y="1208153"/>
            <a:ext cx="2819400" cy="525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ts val="37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502040204020203" pitchFamily="34" charset="0"/>
                <a:ea typeface="Segoe Pro Semibold" charset="0"/>
                <a:cs typeface="Segoe UI Semibold" panose="020B0502040204020203" pitchFamily="34" charset="0"/>
              </a:rPr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E2CB9D-8C8E-AA4B-A4A8-B7F6A270345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" y="7315039"/>
            <a:ext cx="1484348" cy="38116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2170778-4249-1140-B97F-BBCBA040A251}"/>
              </a:ext>
            </a:extLst>
          </p:cNvPr>
          <p:cNvSpPr txBox="1"/>
          <p:nvPr/>
        </p:nvSpPr>
        <p:spPr>
          <a:xfrm>
            <a:off x="11205893" y="7408717"/>
            <a:ext cx="27606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75757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© 2020 Microsoft Corporation. All rights reserved. 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20C02B52-4614-4448-8BBD-DCA8A87F1F56}"/>
              </a:ext>
            </a:extLst>
          </p:cNvPr>
          <p:cNvSpPr txBox="1"/>
          <p:nvPr/>
        </p:nvSpPr>
        <p:spPr>
          <a:xfrm>
            <a:off x="2170148" y="4021645"/>
            <a:ext cx="8891013" cy="86458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7647" tIns="17647" rIns="17647" bIns="17647" numCol="1" spcCol="14288" rtlCol="0" anchor="ctr">
            <a:spAutoFit/>
          </a:bodyPr>
          <a:lstStyle/>
          <a:p>
            <a:r>
              <a:rPr lang="en-US" sz="1843" kern="0" dirty="0">
                <a:solidFill>
                  <a:srgbClr val="404040"/>
                </a:solidFill>
                <a:cs typeface="Arial"/>
              </a:rPr>
              <a:t>Marco Minerva - @</a:t>
            </a:r>
            <a:r>
              <a:rPr lang="en-US" sz="1843" kern="0" dirty="0" err="1">
                <a:solidFill>
                  <a:srgbClr val="404040"/>
                </a:solidFill>
                <a:cs typeface="Arial"/>
              </a:rPr>
              <a:t>marcominerva</a:t>
            </a:r>
            <a:endParaRPr lang="en-US" sz="1843" kern="0" dirty="0">
              <a:solidFill>
                <a:srgbClr val="404040"/>
              </a:solidFill>
              <a:cs typeface="Arial"/>
            </a:endParaRPr>
          </a:p>
          <a:p>
            <a:r>
              <a:rPr lang="en-US" sz="1843" dirty="0">
                <a:latin typeface="Segoe UI Light"/>
                <a:cs typeface="Segoe UI Light"/>
              </a:rPr>
              <a:t>Microsoft MVP – Windows Development</a:t>
            </a:r>
            <a:endParaRPr lang="it-IT" sz="1843" dirty="0">
              <a:latin typeface="Segoe UI Light"/>
              <a:cs typeface="Segoe UI Light"/>
            </a:endParaRPr>
          </a:p>
          <a:p>
            <a:r>
              <a:rPr lang="en-US" sz="1701" kern="0" dirty="0">
                <a:solidFill>
                  <a:srgbClr val="404040"/>
                </a:solidFill>
                <a:latin typeface="Segoe UI Light"/>
                <a:cs typeface="Arial"/>
              </a:rPr>
              <a:t>https://about.me/marcominerva</a:t>
            </a:r>
            <a:endParaRPr lang="en-US" sz="1843" dirty="0">
              <a:latin typeface="Segoe UI Light"/>
              <a:cs typeface="Segoe UI Light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AA8DBEBE-16CE-4BD0-9A93-D2B4583E67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" y="2906140"/>
            <a:ext cx="1250583" cy="1980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492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uu7nzyT3ycluzMEGDSQ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WHITE TEMPLATE">
  <a:themeElements>
    <a:clrScheme name="Dynamics365">
      <a:dk1>
        <a:srgbClr val="505050"/>
      </a:dk1>
      <a:lt1>
        <a:srgbClr val="FFFFFF"/>
      </a:lt1>
      <a:dk2>
        <a:srgbClr val="001E4E"/>
      </a:dk2>
      <a:lt2>
        <a:srgbClr val="3892D9"/>
      </a:lt2>
      <a:accent1>
        <a:srgbClr val="001C44"/>
      </a:accent1>
      <a:accent2>
        <a:srgbClr val="3892DA"/>
      </a:accent2>
      <a:accent3>
        <a:srgbClr val="00B6C2"/>
      </a:accent3>
      <a:accent4>
        <a:srgbClr val="4F5B6B"/>
      </a:accent4>
      <a:accent5>
        <a:srgbClr val="384351"/>
      </a:accent5>
      <a:accent6>
        <a:srgbClr val="1B212A"/>
      </a:accent6>
      <a:hlink>
        <a:srgbClr val="3893DB"/>
      </a:hlink>
      <a:folHlink>
        <a:srgbClr val="3893DB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146304" tIns="91440" rIns="146304" bIns="91440" rtlCol="0" anchor="t">
        <a:noAutofit/>
      </a:bodyPr>
      <a:lstStyle>
        <a:defPPr>
          <a:defRPr sz="24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ynamics365_template_16-9_DARK_BLUE_2017" id="{8FB303E4-D316-EC41-9A70-82CB8DE19F07}" vid="{199F96B1-A9C6-C248-867E-D36ABDDB8BC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dd8a7b3e33c47fa877b91b83903ca90 xmlns="ff0cdac2-04e3-48e1-a041-e0cc9f535420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</TermName>
          <TermId xmlns="http://schemas.microsoft.com/office/infopath/2007/PartnerControls">27bf1818-2b17-4704-b6dc-634625e65017</TermId>
        </TermInfo>
      </Terms>
    </cdd8a7b3e33c47fa877b91b83903ca90>
    <BCLastUpdated xmlns="ff0cdac2-04e3-48e1-a041-e0cc9f535420" xsi:nil="true"/>
    <BCGuidelineDownloadCount xmlns="ff0cdac2-04e3-48e1-a041-e0cc9f535420" xsi:nil="true"/>
    <BCUpdateNotes xmlns="ff0cdac2-04e3-48e1-a041-e0cc9f535420" xsi:nil="true"/>
    <BCShortDescription xmlns="ff0cdac2-04e3-48e1-a041-e0cc9f535420">This document introduces the essential elements of the Azure identity system and explains how to use them to express the Azure product family in marketing communications. </BCShortDescription>
    <TaxCatchAll xmlns="230e9df3-be65-4c73-a93b-d1236ebd677e">
      <Value>162</Value>
      <Value>147</Value>
      <Value>145</Value>
      <Value>142</Value>
      <Value>141</Value>
      <Value>138</Value>
      <Value>137</Value>
      <Value>136</Value>
      <Value>135</Value>
      <Value>134</Value>
      <Value>133</Value>
      <Value>132</Value>
      <Value>131</Value>
      <Value>130</Value>
      <Value>394</Value>
      <Value>123</Value>
      <Value>120</Value>
      <Value>205</Value>
      <Value>204</Value>
      <Value>115</Value>
      <Value>113</Value>
      <Value>290</Value>
      <Value>289</Value>
      <Value>288</Value>
      <Value>286</Value>
      <Value>461</Value>
      <Value>11</Value>
      <Value>4</Value>
    </TaxCatchAll>
    <d629b1d032d9443c89640dc4fd9765f0 xmlns="ff0cdac2-04e3-48e1-a041-e0cc9f535420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 template</TermName>
          <TermId xmlns="http://schemas.microsoft.com/office/infopath/2007/PartnerControls">ab7a58cd-11eb-46b8-9fce-275fd347635e</TermId>
        </TermInfo>
        <TermInfo xmlns="http://schemas.microsoft.com/office/infopath/2007/PartnerControls">
          <TermName xmlns="http://schemas.microsoft.com/office/infopath/2007/PartnerControls">Animation</TermName>
          <TermId xmlns="http://schemas.microsoft.com/office/infopath/2007/PartnerControls">e062a156-c91a-4a37-9645-f09fbdc0995d</TermId>
        </TermInfo>
        <TermInfo xmlns="http://schemas.microsoft.com/office/infopath/2007/PartnerControls">
          <TermName xmlns="http://schemas.microsoft.com/office/infopath/2007/PartnerControls">Audio</TermName>
          <TermId xmlns="http://schemas.microsoft.com/office/infopath/2007/PartnerControls">b236c10a-c966-45c9-9e8a-38623c85a52a</TermId>
        </TermInfo>
        <TermInfo xmlns="http://schemas.microsoft.com/office/infopath/2007/PartnerControls">
          <TermName xmlns="http://schemas.microsoft.com/office/infopath/2007/PartnerControls">Brand graphic</TermName>
          <TermId xmlns="http://schemas.microsoft.com/office/infopath/2007/PartnerControls">6bba8a4b-d2c8-4c7c-a8ba-a46bae396630</TermId>
        </TermInfo>
        <TermInfo xmlns="http://schemas.microsoft.com/office/infopath/2007/PartnerControls">
          <TermName xmlns="http://schemas.microsoft.com/office/infopath/2007/PartnerControls">Brochure template</TermName>
          <TermId xmlns="http://schemas.microsoft.com/office/infopath/2007/PartnerControls">f40f6653-3b78-41fd-8e0d-8f8ad4d11b18</TermId>
        </TermInfo>
        <TermInfo xmlns="http://schemas.microsoft.com/office/infopath/2007/PartnerControls">
          <TermName xmlns="http://schemas.microsoft.com/office/infopath/2007/PartnerControls">Color palette</TermName>
          <TermId xmlns="http://schemas.microsoft.com/office/infopath/2007/PartnerControls">ce433620-73ea-4a48-9af2-68e5b4ae3b5f</TermId>
        </TermInfo>
        <TermInfo xmlns="http://schemas.microsoft.com/office/infopath/2007/PartnerControls">
          <TermName xmlns="http://schemas.microsoft.com/office/infopath/2007/PartnerControls">Data sheet template</TermName>
          <TermId xmlns="http://schemas.microsoft.com/office/infopath/2007/PartnerControls">1d667a30-c5fd-477d-b2f1-c8b094fe43b1</TermId>
        </TermInfo>
        <TermInfo xmlns="http://schemas.microsoft.com/office/infopath/2007/PartnerControls">
          <TermName xmlns="http://schemas.microsoft.com/office/infopath/2007/PartnerControls">Device image</TermName>
          <TermId xmlns="http://schemas.microsoft.com/office/infopath/2007/PartnerControls">43850b1e-05ae-4830-a523-71300ad57a38</TermId>
        </TermInfo>
        <TermInfo xmlns="http://schemas.microsoft.com/office/infopath/2007/PartnerControls">
          <TermName xmlns="http://schemas.microsoft.com/office/infopath/2007/PartnerControls">Email template</TermName>
          <TermId xmlns="http://schemas.microsoft.com/office/infopath/2007/PartnerControls">232f4688-f168-4ae1-8f51-e992f437424b</TermId>
        </TermInfo>
        <TermInfo xmlns="http://schemas.microsoft.com/office/infopath/2007/PartnerControls">
          <TermName xmlns="http://schemas.microsoft.com/office/infopath/2007/PartnerControls">Favicon</TermName>
          <TermId xmlns="http://schemas.microsoft.com/office/infopath/2007/PartnerControls">eee4b914-715f-4e8a-82c0-aaeafdebb8c4</TermId>
        </TermInfo>
        <TermInfo xmlns="http://schemas.microsoft.com/office/infopath/2007/PartnerControls">
          <TermName xmlns="http://schemas.microsoft.com/office/infopath/2007/PartnerControls">Font</TermName>
          <TermId xmlns="http://schemas.microsoft.com/office/infopath/2007/PartnerControls">a2bf0116-dd6e-4dc9-be9d-cf4001a3fa35</TermId>
        </TermInfo>
        <TermInfo xmlns="http://schemas.microsoft.com/office/infopath/2007/PartnerControls">
          <TermName xmlns="http://schemas.microsoft.com/office/infopath/2007/PartnerControls">Guidelines</TermName>
          <TermId xmlns="http://schemas.microsoft.com/office/infopath/2007/PartnerControls">537390d8-e801-4c60-883f-a847620cfbf4</TermId>
        </TermInfo>
        <TermInfo xmlns="http://schemas.microsoft.com/office/infopath/2007/PartnerControls">
          <TermName xmlns="http://schemas.microsoft.com/office/infopath/2007/PartnerControls">Icon</TermName>
          <TermId xmlns="http://schemas.microsoft.com/office/infopath/2007/PartnerControls">89d04123-8670-4853-baea-b75819755be0</TermId>
        </TermInfo>
        <TermInfo xmlns="http://schemas.microsoft.com/office/infopath/2007/PartnerControls">
          <TermName xmlns="http://schemas.microsoft.com/office/infopath/2007/PartnerControls">Illustration</TermName>
          <TermId xmlns="http://schemas.microsoft.com/office/infopath/2007/PartnerControls">13b14ab3-400c-4f57-811f-24eb0130e9a8</TermId>
        </TermInfo>
        <TermInfo xmlns="http://schemas.microsoft.com/office/infopath/2007/PartnerControls">
          <TermName xmlns="http://schemas.microsoft.com/office/infopath/2007/PartnerControls">Letterhead template</TermName>
          <TermId xmlns="http://schemas.microsoft.com/office/infopath/2007/PartnerControls">f2f0c0e3-cac1-47ef-8a28-ea11341c299b</TermId>
        </TermInfo>
        <TermInfo xmlns="http://schemas.microsoft.com/office/infopath/2007/PartnerControls">
          <TermName xmlns="http://schemas.microsoft.com/office/infopath/2007/PartnerControls">Logo</TermName>
          <TermId xmlns="http://schemas.microsoft.com/office/infopath/2007/PartnerControls">fb1176ba-34f2-4f0c-a5f9-6486b5731724</TermId>
        </TermInfo>
        <TermInfo xmlns="http://schemas.microsoft.com/office/infopath/2007/PartnerControls">
          <TermName xmlns="http://schemas.microsoft.com/office/infopath/2007/PartnerControls">Logotype</TermName>
          <TermId xmlns="http://schemas.microsoft.com/office/infopath/2007/PartnerControls">ad79df21-c7ff-43f9-b428-2acf10d906bf</TermId>
        </TermInfo>
        <TermInfo xmlns="http://schemas.microsoft.com/office/infopath/2007/PartnerControls">
          <TermName xmlns="http://schemas.microsoft.com/office/infopath/2007/PartnerControls">Messaging</TermName>
          <TermId xmlns="http://schemas.microsoft.com/office/infopath/2007/PartnerControls">f2ace91a-d38f-4347-a043-2300a41225fb</TermId>
        </TermInfo>
        <TermInfo xmlns="http://schemas.microsoft.com/office/infopath/2007/PartnerControls">
          <TermName xmlns="http://schemas.microsoft.com/office/infopath/2007/PartnerControls">Other</TermName>
          <TermId xmlns="http://schemas.microsoft.com/office/infopath/2007/PartnerControls">76357699-5c5f-4afd-84a8-a1f7da848796</TermId>
        </TermInfo>
        <TermInfo xmlns="http://schemas.microsoft.com/office/infopath/2007/PartnerControls">
          <TermName xmlns="http://schemas.microsoft.com/office/infopath/2007/PartnerControls">Photography</TermName>
          <TermId xmlns="http://schemas.microsoft.com/office/infopath/2007/PartnerControls">f42e7a85-6cfc-4438-90da-edcecb42531b</TermId>
        </TermInfo>
        <TermInfo xmlns="http://schemas.microsoft.com/office/infopath/2007/PartnerControls">
          <TermName xmlns="http://schemas.microsoft.com/office/infopath/2007/PartnerControls">Poster template</TermName>
          <TermId xmlns="http://schemas.microsoft.com/office/infopath/2007/PartnerControls">8c2564a2-cdff-4c76-b2c7-ea723c969303</TermId>
        </TermInfo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0755019c-6866-49dc-ad0c-658146c2c7a8</TermId>
        </TermInfo>
        <TermInfo xmlns="http://schemas.microsoft.com/office/infopath/2007/PartnerControls">
          <TermName xmlns="http://schemas.microsoft.com/office/infopath/2007/PartnerControls">Screen shot</TermName>
          <TermId xmlns="http://schemas.microsoft.com/office/infopath/2007/PartnerControls">17affee4-c6f0-43f1-9634-81c282699000</TermId>
        </TermInfo>
        <TermInfo xmlns="http://schemas.microsoft.com/office/infopath/2007/PartnerControls">
          <TermName xmlns="http://schemas.microsoft.com/office/infopath/2007/PartnerControls">Training</TermName>
          <TermId xmlns="http://schemas.microsoft.com/office/infopath/2007/PartnerControls">723c41aa-535b-4d4c-8f0e-b27eac44440d</TermId>
        </TermInfo>
        <TermInfo xmlns="http://schemas.microsoft.com/office/infopath/2007/PartnerControls">
          <TermName xmlns="http://schemas.microsoft.com/office/infopath/2007/PartnerControls">Video</TermName>
          <TermId xmlns="http://schemas.microsoft.com/office/infopath/2007/PartnerControls">e8f5ad0e-d4fe-4c7e-816e-115d50409d13</TermId>
        </TermInfo>
        <TermInfo xmlns="http://schemas.microsoft.com/office/infopath/2007/PartnerControls">
          <TermName xmlns="http://schemas.microsoft.com/office/infopath/2007/PartnerControls">Web banner template</TermName>
          <TermId xmlns="http://schemas.microsoft.com/office/infopath/2007/PartnerControls">5d694f72-29d1-4203-a5f0-c7c386d687ac</TermId>
        </TermInfo>
        <TermInfo xmlns="http://schemas.microsoft.com/office/infopath/2007/PartnerControls">
          <TermName xmlns="http://schemas.microsoft.com/office/infopath/2007/PartnerControls">White paper template</TermName>
          <TermId xmlns="http://schemas.microsoft.com/office/infopath/2007/PartnerControls">1ec626d2-cc5b-46a7-9c23-ad9ba093a12b</TermId>
        </TermInfo>
      </Terms>
    </d629b1d032d9443c89640dc4fd9765f0>
    <_ip_UnifiedCompliancePolicyUIAction xmlns="http://schemas.microsoft.com/sharepoint/v3" xsi:nil="true"/>
    <_ip_UnifiedCompliancePolicyProperties xmlns="http://schemas.microsoft.com/sharepoint/v3" xsi:nil="true"/>
    <LastSharedByUser xmlns="ff0cdac2-04e3-48e1-a041-e0cc9f535420">v-albosh@microsoft.com</LastSharedByUser>
    <LastSharedByTime xmlns="ff0cdac2-04e3-48e1-a041-e0cc9f535420">2018-08-02T22:27:08+00:00</LastSharedByTime>
    <SharedWithUsers xmlns="ff0cdac2-04e3-48e1-a041-e0cc9f535420">
      <UserInfo>
        <DisplayName>Meredith Williams (RAZOR CONSULTING SOLUTIONS INC)</DisplayName>
        <AccountId>109258</AccountId>
        <AccountType/>
      </UserInfo>
      <UserInfo>
        <DisplayName>Kevin Marshall</DisplayName>
        <AccountId>13802</AccountId>
        <AccountType/>
      </UserInfo>
      <UserInfo>
        <DisplayName>M365 Studio/M365 Security &amp; Compliance (Andrew Conway's org) Members</DisplayName>
        <AccountId>148982</AccountId>
        <AccountType/>
      </UserInfo>
      <UserInfo>
        <DisplayName>Kelly Smith</DisplayName>
        <AccountId>11673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randCentralGuideline" ma:contentTypeID="0x0101009E5835D747F44FC0B29F16FCC04391F200A6F9982B0676FE47BDA1C9E42CF00396" ma:contentTypeVersion="14" ma:contentTypeDescription="My Content Type" ma:contentTypeScope="" ma:versionID="7ece1eed46c413aca63dcd8329a70bd6">
  <xsd:schema xmlns:xsd="http://www.w3.org/2001/XMLSchema" xmlns:xs="http://www.w3.org/2001/XMLSchema" xmlns:p="http://schemas.microsoft.com/office/2006/metadata/properties" xmlns:ns1="http://schemas.microsoft.com/sharepoint/v3" xmlns:ns2="ff0cdac2-04e3-48e1-a041-e0cc9f535420" xmlns:ns3="230e9df3-be65-4c73-a93b-d1236ebd677e" xmlns:ns4="01ee4518-dfa0-4187-b423-dbcb495ac7b1" targetNamespace="http://schemas.microsoft.com/office/2006/metadata/properties" ma:root="true" ma:fieldsID="9bbd663ed902757071216db7771cad68" ns1:_="" ns2:_="" ns3:_="" ns4:_="">
    <xsd:import namespace="http://schemas.microsoft.com/sharepoint/v3"/>
    <xsd:import namespace="ff0cdac2-04e3-48e1-a041-e0cc9f535420"/>
    <xsd:import namespace="230e9df3-be65-4c73-a93b-d1236ebd677e"/>
    <xsd:import namespace="01ee4518-dfa0-4187-b423-dbcb495ac7b1"/>
    <xsd:element name="properties">
      <xsd:complexType>
        <xsd:sequence>
          <xsd:element name="documentManagement">
            <xsd:complexType>
              <xsd:all>
                <xsd:element ref="ns2:BCGuidelineDownloadCount" minOccurs="0"/>
                <xsd:element ref="ns2:BCShortDescription"/>
                <xsd:element ref="ns3:TaxCatchAll" minOccurs="0"/>
                <xsd:element ref="ns2:cdd8a7b3e33c47fa877b91b83903ca90" minOccurs="0"/>
                <xsd:element ref="ns2:d629b1d032d9443c89640dc4fd9765f0" minOccurs="0"/>
                <xsd:element ref="ns2:SharedWithUsers" minOccurs="0"/>
                <xsd:element ref="ns2:SharedWithDetails" minOccurs="0"/>
                <xsd:element ref="ns2:SharingHintHash" minOccurs="0"/>
                <xsd:element ref="ns2:LastSharedByUser" minOccurs="0"/>
                <xsd:element ref="ns2:LastSharedByTime" minOccurs="0"/>
                <xsd:element ref="ns4:MediaServiceMetadata" minOccurs="0"/>
                <xsd:element ref="ns4:MediaServiceFastMetadata" minOccurs="0"/>
                <xsd:element ref="ns2:BCLastUpdated" minOccurs="0"/>
                <xsd:element ref="ns2:BCUpdateNotes" minOccurs="0"/>
                <xsd:element ref="ns1:_ip_UnifiedCompliancePolicyProperties" minOccurs="0"/>
                <xsd:element ref="ns1:_ip_UnifiedCompliancePolicyUIAc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0cdac2-04e3-48e1-a041-e0cc9f535420" elementFormDefault="qualified">
    <xsd:import namespace="http://schemas.microsoft.com/office/2006/documentManagement/types"/>
    <xsd:import namespace="http://schemas.microsoft.com/office/infopath/2007/PartnerControls"/>
    <xsd:element name="BCGuidelineDownloadCount" ma:index="10" nillable="true" ma:displayName="Guideline Download Count" ma:internalName="BCGuidelineDownloadCount">
      <xsd:simpleType>
        <xsd:restriction base="dms:Number"/>
      </xsd:simpleType>
    </xsd:element>
    <xsd:element name="BCShortDescription" ma:index="11" ma:displayName="Description" ma:internalName="BCShortDescription">
      <xsd:simpleType>
        <xsd:restriction base="dms:Note">
          <xsd:maxLength value="500"/>
        </xsd:restriction>
      </xsd:simpleType>
    </xsd:element>
    <xsd:element name="cdd8a7b3e33c47fa877b91b83903ca90" ma:index="13" nillable="true" ma:taxonomy="true" ma:internalName="cdd8a7b3e33c47fa877b91b83903ca90" ma:taxonomyFieldName="BCIdentityMulti" ma:displayName="Identity Multi" ma:default="" ma:fieldId="{cdd8a7b3-e33c-47fa-877b-91b83903ca90}" ma:taxonomyMulti="true" ma:sspId="e385fb40-52d4-4fae-9c5b-3e8ff8a5878e" ma:termSetId="4d26b816-19ab-47af-bd80-7f70d3e8483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629b1d032d9443c89640dc4fd9765f0" ma:index="14" nillable="true" ma:taxonomy="true" ma:internalName="d629b1d032d9443c89640dc4fd9765f0" ma:taxonomyFieldName="BCAssetTypeMulti" ma:displayName="Asset Type Multi" ma:default="" ma:fieldId="{d629b1d0-32d9-443c-8964-0dc4fd9765f0}" ma:taxonomyMulti="true" ma:sspId="e385fb40-52d4-4fae-9c5b-3e8ff8a5878e" ma:termSetId="e4ade0bc-a487-488a-9e05-15d93dfc280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internalName="SharingHintHash" ma:readOnly="true">
      <xsd:simpleType>
        <xsd:restriction base="dms:Text"/>
      </xsd:simpleType>
    </xsd:element>
    <xsd:element name="LastSharedByUser" ma:index="18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9" nillable="true" ma:displayName="Last Shared By Time" ma:description="" ma:internalName="LastSharedByTime" ma:readOnly="true">
      <xsd:simpleType>
        <xsd:restriction base="dms:DateTime"/>
      </xsd:simpleType>
    </xsd:element>
    <xsd:element name="BCLastUpdated" ma:index="22" nillable="true" ma:displayName="Last Updated Date" ma:internalName="BCLastUpdated">
      <xsd:simpleType>
        <xsd:restriction base="dms:DateTime"/>
      </xsd:simpleType>
    </xsd:element>
    <xsd:element name="BCUpdateNotes" ma:index="23" nillable="true" ma:displayName="Update Notes" ma:description="What's new in the guideline update" ma:internalName="BCUpdateNotes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b3cdc02-c4a9-4ba0-bb3b-a697411f2a47}" ma:internalName="TaxCatchAll" ma:showField="CatchAllData" ma:web="ff0cdac2-04e3-48e1-a041-e0cc9f5354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ee4518-dfa0-4187-b423-dbcb495ac7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2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8F3CD65-0A91-4410-810C-7388472E72F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DD5C9D-D048-463B-ACD4-F7936C1D6D3B}">
  <ds:schemaRefs>
    <ds:schemaRef ds:uri="http://schemas.microsoft.com/office/2006/metadata/properties"/>
    <ds:schemaRef ds:uri="http://schemas.microsoft.com/office/infopath/2007/PartnerControls"/>
    <ds:schemaRef ds:uri="ff0cdac2-04e3-48e1-a041-e0cc9f535420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7417E77-F0D5-44CF-BF2F-CF2F7498B3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f0cdac2-04e3-48e1-a041-e0cc9f535420"/>
    <ds:schemaRef ds:uri="230e9df3-be65-4c73-a93b-d1236ebd677e"/>
    <ds:schemaRef ds:uri="01ee4518-dfa0-4187-b423-dbcb495ac7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087</TotalTime>
  <Words>338</Words>
  <Application>Microsoft Office PowerPoint</Application>
  <PresentationFormat>Personalizzato</PresentationFormat>
  <Paragraphs>59</Paragraphs>
  <Slides>9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Wingdings</vt:lpstr>
      <vt:lpstr>Office Theme</vt:lpstr>
      <vt:lpstr>2_WHITE TEMPLATE</vt:lpstr>
      <vt:lpstr>think-cell Slide</vt:lpstr>
      <vt:lpstr>Xamarin ♥ .NET Core</vt:lpstr>
      <vt:lpstr>Presentazione standard di PowerPoint</vt:lpstr>
      <vt:lpstr>.NET Core 3 runs everywhere</vt:lpstr>
      <vt:lpstr>HostBuilder with ASP.NET Core</vt:lpstr>
      <vt:lpstr>Demo</vt:lpstr>
      <vt:lpstr>HttpClientFactory</vt:lpstr>
      <vt:lpstr>Demo</vt:lpstr>
      <vt:lpstr>Resources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marketing guidelines</dc:title>
  <dc:creator>Mauricio Arriagada</dc:creator>
  <cp:lastModifiedBy>Marco Minerva</cp:lastModifiedBy>
  <cp:revision>221</cp:revision>
  <cp:lastPrinted>2019-06-03T20:23:41Z</cp:lastPrinted>
  <dcterms:modified xsi:type="dcterms:W3CDTF">2020-03-19T11:3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jeleag@microsoft.com</vt:lpwstr>
  </property>
  <property fmtid="{D5CDD505-2E9C-101B-9397-08002B2CF9AE}" pid="5" name="MSIP_Label_f42aa342-8706-4288-bd11-ebb85995028c_SetDate">
    <vt:lpwstr>2018-05-08T23:19:12.6305391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9E5835D747F44FC0B29F16FCC04391F200A6F9982B0676FE47BDA1C9E42CF00396</vt:lpwstr>
  </property>
  <property fmtid="{D5CDD505-2E9C-101B-9397-08002B2CF9AE}" pid="11" name="BCIdentityMulti">
    <vt:lpwstr>461;#Azure|27bf1818-2b17-4704-b6dc-634625e65017</vt:lpwstr>
  </property>
  <property fmtid="{D5CDD505-2E9C-101B-9397-08002B2CF9AE}" pid="12" name="BCAssetTypeMulti">
    <vt:lpwstr>204;#Ad template|ab7a58cd-11eb-46b8-9fce-275fd347635e;#113;#Animation|e062a156-c91a-4a37-9645-f09fbdc0995d;#138;#Audio|b236c10a-c966-45c9-9e8a-38623c85a52a;#120;#Brand graphic|6bba8a4b-d2c8-4c7c-a8ba-a46bae396630;#289;#Brochure template|f40f6653-3b78-41fd</vt:lpwstr>
  </property>
</Properties>
</file>